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ppt/theme/themeOverride8.xml" ContentType="application/vnd.openxmlformats-officedocument.themeOverride+xml"/>
  <Override PartName="/ppt/tags/tag10.xml" ContentType="application/vnd.openxmlformats-officedocument.presentationml.tags+xml"/>
  <Override PartName="/ppt/theme/themeOverride9.xml" ContentType="application/vnd.openxmlformats-officedocument.themeOverride+xml"/>
  <Override PartName="/ppt/tags/tag11.xml" ContentType="application/vnd.openxmlformats-officedocument.presentationml.tags+xml"/>
  <Override PartName="/ppt/theme/themeOverride10.xml" ContentType="application/vnd.openxmlformats-officedocument.themeOverride+xml"/>
  <Override PartName="/ppt/tags/tag12.xml" ContentType="application/vnd.openxmlformats-officedocument.presentationml.tags+xml"/>
  <Override PartName="/ppt/theme/themeOverride11.xml" ContentType="application/vnd.openxmlformats-officedocument.themeOverride+xml"/>
  <Override PartName="/ppt/tags/tag13.xml" ContentType="application/vnd.openxmlformats-officedocument.presentationml.tags+xml"/>
  <Override PartName="/ppt/theme/themeOverride12.xml" ContentType="application/vnd.openxmlformats-officedocument.themeOverride+xml"/>
  <Override PartName="/ppt/tags/tag14.xml" ContentType="application/vnd.openxmlformats-officedocument.presentationml.tags+xml"/>
  <Override PartName="/ppt/theme/themeOverride13.xml" ContentType="application/vnd.openxmlformats-officedocument.themeOverride+xml"/>
  <Override PartName="/ppt/tags/tag15.xml" ContentType="application/vnd.openxmlformats-officedocument.presentationml.tags+xml"/>
  <Override PartName="/ppt/theme/themeOverride14.xml" ContentType="application/vnd.openxmlformats-officedocument.themeOverride+xml"/>
  <Override PartName="/ppt/tags/tag16.xml" ContentType="application/vnd.openxmlformats-officedocument.presentationml.tags+xml"/>
  <Override PartName="/ppt/theme/themeOverride15.xml" ContentType="application/vnd.openxmlformats-officedocument.themeOverride+xml"/>
  <Override PartName="/ppt/tags/tag17.xml" ContentType="application/vnd.openxmlformats-officedocument.presentationml.tags+xml"/>
  <Override PartName="/ppt/theme/themeOverride16.xml" ContentType="application/vnd.openxmlformats-officedocument.themeOverride+xml"/>
  <Override PartName="/ppt/tags/tag18.xml" ContentType="application/vnd.openxmlformats-officedocument.presentationml.tags+xml"/>
  <Override PartName="/ppt/theme/themeOverride17.xml" ContentType="application/vnd.openxmlformats-officedocument.themeOverride+xml"/>
  <Override PartName="/ppt/tags/tag19.xml" ContentType="application/vnd.openxmlformats-officedocument.presentationml.tags+xml"/>
  <Override PartName="/ppt/theme/themeOverride18.xml" ContentType="application/vnd.openxmlformats-officedocument.themeOverride+xml"/>
  <Override PartName="/ppt/tags/tag20.xml" ContentType="application/vnd.openxmlformats-officedocument.presentationml.tags+xml"/>
  <Override PartName="/ppt/theme/themeOverride19.xml" ContentType="application/vnd.openxmlformats-officedocument.themeOverride+xml"/>
  <Override PartName="/ppt/tags/tag21.xml" ContentType="application/vnd.openxmlformats-officedocument.presentationml.tags+xml"/>
  <Override PartName="/ppt/theme/themeOverride20.xml" ContentType="application/vnd.openxmlformats-officedocument.themeOverride+xml"/>
  <Override PartName="/ppt/tags/tag22.xml" ContentType="application/vnd.openxmlformats-officedocument.presentationml.tags+xml"/>
  <Override PartName="/ppt/theme/themeOverride21.xml" ContentType="application/vnd.openxmlformats-officedocument.themeOverride+xml"/>
  <Override PartName="/ppt/tags/tag23.xml" ContentType="application/vnd.openxmlformats-officedocument.presentationml.tags+xml"/>
  <Override PartName="/ppt/theme/themeOverride22.xml" ContentType="application/vnd.openxmlformats-officedocument.themeOverride+xml"/>
  <Override PartName="/ppt/tags/tag24.xml" ContentType="application/vnd.openxmlformats-officedocument.presentationml.tags+xml"/>
  <Override PartName="/ppt/theme/themeOverride23.xml" ContentType="application/vnd.openxmlformats-officedocument.themeOverride+xml"/>
  <Override PartName="/ppt/tags/tag25.xml" ContentType="application/vnd.openxmlformats-officedocument.presentationml.tags+xml"/>
  <Override PartName="/ppt/theme/themeOverride24.xml" ContentType="application/vnd.openxmlformats-officedocument.themeOverride+xml"/>
  <Override PartName="/ppt/tags/tag26.xml" ContentType="application/vnd.openxmlformats-officedocument.presentationml.tags+xml"/>
  <Override PartName="/ppt/theme/themeOverride25.xml" ContentType="application/vnd.openxmlformats-officedocument.themeOverride+xml"/>
  <Override PartName="/ppt/tags/tag27.xml" ContentType="application/vnd.openxmlformats-officedocument.presentationml.tags+xml"/>
  <Override PartName="/ppt/theme/themeOverride26.xml" ContentType="application/vnd.openxmlformats-officedocument.themeOverride+xml"/>
  <Override PartName="/ppt/tags/tag28.xml" ContentType="application/vnd.openxmlformats-officedocument.presentationml.tags+xml"/>
  <Override PartName="/ppt/theme/themeOverride27.xml" ContentType="application/vnd.openxmlformats-officedocument.themeOverride+xml"/>
  <Override PartName="/ppt/tags/tag29.xml" ContentType="application/vnd.openxmlformats-officedocument.presentationml.tags+xml"/>
  <Override PartName="/ppt/theme/themeOverride28.xml" ContentType="application/vnd.openxmlformats-officedocument.themeOverride+xml"/>
  <Override PartName="/ppt/tags/tag30.xml" ContentType="application/vnd.openxmlformats-officedocument.presentationml.tags+xml"/>
  <Override PartName="/ppt/theme/themeOverride29.xml" ContentType="application/vnd.openxmlformats-officedocument.themeOverride+xml"/>
  <Override PartName="/ppt/tags/tag31.xml" ContentType="application/vnd.openxmlformats-officedocument.presentationml.tags+xml"/>
  <Override PartName="/ppt/theme/themeOverride30.xml" ContentType="application/vnd.openxmlformats-officedocument.themeOverride+xml"/>
  <Override PartName="/ppt/tags/tag32.xml" ContentType="application/vnd.openxmlformats-officedocument.presentationml.tags+xml"/>
  <Override PartName="/ppt/theme/themeOverride31.xml" ContentType="application/vnd.openxmlformats-officedocument.themeOverride+xml"/>
  <Override PartName="/ppt/tags/tag33.xml" ContentType="application/vnd.openxmlformats-officedocument.presentationml.tags+xml"/>
  <Override PartName="/ppt/theme/themeOverride32.xml" ContentType="application/vnd.openxmlformats-officedocument.themeOverride+xml"/>
  <Override PartName="/ppt/tags/tag34.xml" ContentType="application/vnd.openxmlformats-officedocument.presentationml.tags+xml"/>
  <Override PartName="/ppt/theme/themeOverride33.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notesSlides/notesSlide2.xml" ContentType="application/vnd.openxmlformats-officedocument.presentationml.notesSlide+xml"/>
  <Override PartName="/ppt/tags/tag39.xml" ContentType="application/vnd.openxmlformats-officedocument.presentationml.tags+xml"/>
  <Override PartName="/ppt/notesSlides/notesSlide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4.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4"/>
  </p:sldMasterIdLst>
  <p:notesMasterIdLst>
    <p:notesMasterId r:id="rId14"/>
  </p:notesMasterIdLst>
  <p:handoutMasterIdLst>
    <p:handoutMasterId r:id="rId15"/>
  </p:handoutMasterIdLst>
  <p:sldIdLst>
    <p:sldId id="2147471729" r:id="rId5"/>
    <p:sldId id="2147471719" r:id="rId6"/>
    <p:sldId id="2147471730" r:id="rId7"/>
    <p:sldId id="2147471734" r:id="rId8"/>
    <p:sldId id="2147471724" r:id="rId9"/>
    <p:sldId id="2147471735" r:id="rId10"/>
    <p:sldId id="2147471736" r:id="rId11"/>
    <p:sldId id="2147471737" r:id="rId12"/>
    <p:sldId id="2147471732" r:id="rId13"/>
  </p:sldIdLst>
  <p:sldSz cx="9906000" cy="6858000" type="A4"/>
  <p:notesSz cx="9939338" cy="14368463"/>
  <p:custDataLst>
    <p:tags r:id="rId16"/>
  </p:custDataLst>
  <p:defaultText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69" userDrawn="1">
          <p15:clr>
            <a:srgbClr val="A4A3A4"/>
          </p15:clr>
        </p15:guide>
        <p15:guide id="2" orient="horz" pos="731" userDrawn="1">
          <p15:clr>
            <a:srgbClr val="A4A3A4"/>
          </p15:clr>
        </p15:guide>
        <p15:guide id="3" orient="horz" pos="3362" userDrawn="1">
          <p15:clr>
            <a:srgbClr val="A4A3A4"/>
          </p15:clr>
        </p15:guide>
        <p15:guide id="4" orient="horz" pos="777" userDrawn="1">
          <p15:clr>
            <a:srgbClr val="A4A3A4"/>
          </p15:clr>
        </p15:guide>
        <p15:guide id="5" orient="horz" pos="160">
          <p15:clr>
            <a:srgbClr val="A4A3A4"/>
          </p15:clr>
        </p15:guide>
        <p15:guide id="6" orient="horz" pos="3702">
          <p15:clr>
            <a:srgbClr val="A4A3A4"/>
          </p15:clr>
        </p15:guide>
        <p15:guide id="7" orient="horz" pos="3770" userDrawn="1">
          <p15:clr>
            <a:srgbClr val="A4A3A4"/>
          </p15:clr>
        </p15:guide>
        <p15:guide id="8" pos="3120">
          <p15:clr>
            <a:srgbClr val="A4A3A4"/>
          </p15:clr>
        </p15:guide>
        <p15:guide id="9" pos="341">
          <p15:clr>
            <a:srgbClr val="A4A3A4"/>
          </p15:clr>
        </p15:guide>
        <p15:guide id="10" pos="5910" userDrawn="1">
          <p15:clr>
            <a:srgbClr val="A4A3A4"/>
          </p15:clr>
        </p15:guide>
        <p15:guide id="11" orient="horz" pos="1026" userDrawn="1">
          <p15:clr>
            <a:srgbClr val="A4A3A4"/>
          </p15:clr>
        </p15:guide>
        <p15:guide id="12" orient="horz" pos="1321" userDrawn="1">
          <p15:clr>
            <a:srgbClr val="A4A3A4"/>
          </p15:clr>
        </p15:guide>
        <p15:guide id="13" orient="horz" pos="1888" userDrawn="1">
          <p15:clr>
            <a:srgbClr val="A4A3A4"/>
          </p15:clr>
        </p15:guide>
        <p15:guide id="14" orient="horz" pos="232" userDrawn="1">
          <p15:clr>
            <a:srgbClr val="A4A3A4"/>
          </p15:clr>
        </p15:guide>
        <p15:guide id="15" orient="horz" pos="527" userDrawn="1">
          <p15:clr>
            <a:srgbClr val="A4A3A4"/>
          </p15:clr>
        </p15:guide>
      </p15:sldGuideLst>
    </p:ext>
    <p:ext uri="{2D200454-40CA-4A62-9FC3-DE9A4176ACB9}">
      <p15:notesGuideLst xmlns:p15="http://schemas.microsoft.com/office/powerpoint/2012/main">
        <p15:guide id="1" orient="horz" pos="4526" userDrawn="1">
          <p15:clr>
            <a:srgbClr val="A4A3A4"/>
          </p15:clr>
        </p15:guide>
        <p15:guide id="2" pos="313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B56AF02-EA96-1C99-8C13-AE801E0540DE}" name="Lena Iganova" initials="LI" userId="S::Lena.Iganova@nousgroup.com::3e70c86c-569a-4250-bdba-9f88ea9603fc" providerId="AD"/>
  <p188:author id="{2710B204-D294-9A5E-5E3C-2BBEAF83F42C}" name="Travis Cunningham (DTF)" initials="TC" userId="S::travis.cunningham@betterreg.vic.gov.au::a2431d88-02bc-480b-9ad1-66fe40f0e035" providerId="AD"/>
  <p188:author id="{DBAE7D05-3733-7B72-DF3E-DF19A6280243}" name="Sam Nadarajah (ServiceVic)" initials="SN(" userId="S::Sam.Nadarajah@service.vic.gov.au::84354081-06ad-4dbe-a528-9a8281f0061d" providerId="AD"/>
  <p188:author id="{1E457E08-38A0-71F4-3194-6BC0EBB9B104}" name="Jessica Gill" initials="JG" userId="S::Jessica.Gill@nousgroup.com::264b7e32-70f6-4c9d-a84a-621663bf5c05" providerId="AD"/>
  <p188:author id="{25F85F1E-616B-598C-B03B-051AB94B53A1}" name="Eliot Palmer (DTF)" initials="E(" userId="S::eliot.palmer@betterreg.vic.gov.au::bbaa89cf-5eb9-4b1b-a0db-4e59aca7fb93" providerId="AD"/>
  <p188:author id="{584C5D27-FB9B-94DB-5068-AB7BF542D765}" name="Michael Rathjen" initials="MR" userId="S::michael.rathjen@nousgroup.com::6726e8fa-a3ef-447e-a186-32f24458caa5" providerId="AD"/>
  <p188:author id="{6BED933F-4E69-940C-E2C6-5A98827BC082}" name="Lauren Buttigieg" initials="LB" userId="S::Lauren.Buttigieg@nousgroup.com::9a8fefbc-9864-4196-a044-40d7b1e2fa84" providerId="AD"/>
  <p188:author id="{4641BA6C-651A-EBF9-B864-CB42281BAE76}" name="William Taranto" initials="WT" userId="S::William.Taranto@nousgroup.com::4de9ad9d-22f2-4d44-b64e-0eac19d74e1a" providerId="AD"/>
  <p188:author id="{F14F5D75-DCCE-14BA-A7A8-41326F5255B3}" name="Jackson Quinn" initials="JQ" userId="S::Jackson.Quinn@nousgroup.com::f4787004-1b70-4f1d-97ed-cc65f8b67785" providerId="AD"/>
  <p188:author id="{A1129976-3C9A-5A31-BCA0-435ABAE5A0E7}" name="Lena Iganova" initials="LI" userId="S::lena.iganova@nousgroup.com::3e70c86c-569a-4250-bdba-9f88ea9603fc" providerId="AD"/>
  <p188:author id="{F684C092-95D0-ACE4-83E7-06AA402B5945}" name="Magaly Cortes Sandoval" initials="MCS" userId="S::magaly.cortes@nousgroup.com::1d9ceb31-c658-4654-91dc-8bbbe27abd92" providerId="AD"/>
  <p188:author id="{611DC698-16AB-EFBD-1BD2-E45A2070C59D}" name="Veronica Hall" initials="VH" userId="S::Veronica.Hall@nousgroup.com::25884e69-4879-4339-a281-c71d0220945c" providerId="AD"/>
  <p188:author id="{53CCF29A-568A-992D-FF26-A3BC3C19CA5F}" name="Connor Xu" initials="CX" userId="S::connor.xu@nousgroup.com::a2fa5610-7f85-41f8-9630-afc02cec4fa9" providerId="AD"/>
  <p188:author id="{2C3D469C-A474-A303-986C-3B19B0DCAFB7}" name="Meredith Lowder" initials="ML" userId="S::Meredith.Lowder@nousgroup.com::f0842a1a-b7f1-41ae-8904-0608067d1bf0" providerId="AD"/>
  <p188:author id="{8E8617A0-9DC8-1063-4B9B-F08CDF1BD126}" name="Colin Watson" initials="CW" userId="S::colin.watson@nousgroup.com::f5e523bd-da60-44d7-a928-0f65409075c6" providerId="AD"/>
  <p188:author id="{525E4BA1-2472-B3A5-CC08-E7E0E31F2531}" name="Helena Worthington (DTF)" initials="HW" userId="S::helena.worthington@betterreg.vic.gov.au::872c2340-4a31-4883-b18d-67548b3a9bcd" providerId="AD"/>
  <p188:author id="{65FE5FB2-BB86-46D7-AF96-58CF00486DA6}" name="Lachlan Iape" initials="LI" userId="S::Lachlan.Iape@nousgroup.com::3127c616-97ab-4b9a-80db-8edf7e2f3cde" providerId="AD"/>
  <p188:author id="{5E5BDFC9-0106-37BF-60C0-15507528056F}" name="Lola Dunne" initials="LD" userId="S::Lola.Dunne@nousgroup.com::3b935565-98d8-40c3-b8fc-e35767fdebbf" providerId="AD"/>
  <p188:author id="{71F3A3CA-A048-55EC-C2B7-765538F74D28}" name="Claire Noone" initials="CN" userId="S::claire.noone@nousgroup.com::4205f047-17a4-4705-b4ef-4fb8d686e543" providerId="AD"/>
  <p188:author id="{7AE376E2-8A03-82A9-AC66-5D05DC8121C6}" name="Hannah McHardy" initials="HM" userId="S::hannah.mchardy@nousgroup.com::f3c2eb28-09f0-4650-957e-94cb1449084b" providerId="AD"/>
  <p188:author id="{ACDD04E3-7CAF-97C8-9CB6-0281E947AA18}" name="Michael Rathjen" initials="MR" userId="S::Michael.Rathjen@nousgroup.com::6726e8fa-a3ef-447e-a186-32f24458caa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7094"/>
    <a:srgbClr val="AF62BA"/>
    <a:srgbClr val="1F2A44"/>
    <a:srgbClr val="EF6BD6"/>
    <a:srgbClr val="E8E9EA"/>
    <a:srgbClr val="FFFFFF"/>
    <a:srgbClr val="F2F2F2"/>
    <a:srgbClr val="78BE20"/>
    <a:srgbClr val="215D97"/>
    <a:srgbClr val="0086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1168" autoAdjust="0"/>
  </p:normalViewPr>
  <p:slideViewPr>
    <p:cSldViewPr snapToGrid="0">
      <p:cViewPr varScale="1">
        <p:scale>
          <a:sx n="93" d="100"/>
          <a:sy n="93" d="100"/>
        </p:scale>
        <p:origin x="864" y="80"/>
      </p:cViewPr>
      <p:guideLst>
        <p:guide orient="horz" pos="2069"/>
        <p:guide orient="horz" pos="731"/>
        <p:guide orient="horz" pos="3362"/>
        <p:guide orient="horz" pos="777"/>
        <p:guide orient="horz" pos="160"/>
        <p:guide orient="horz" pos="3702"/>
        <p:guide orient="horz" pos="3770"/>
        <p:guide pos="3120"/>
        <p:guide pos="341"/>
        <p:guide pos="5910"/>
        <p:guide orient="horz" pos="1026"/>
        <p:guide orient="horz" pos="1321"/>
        <p:guide orient="horz" pos="1888"/>
        <p:guide orient="horz" pos="232"/>
        <p:guide orient="horz" pos="527"/>
      </p:guideLst>
    </p:cSldViewPr>
  </p:slideViewPr>
  <p:notesTextViewPr>
    <p:cViewPr>
      <p:scale>
        <a:sx n="1" d="1"/>
        <a:sy n="1" d="1"/>
      </p:scale>
      <p:origin x="0" y="0"/>
    </p:cViewPr>
  </p:notesTextViewPr>
  <p:notesViewPr>
    <p:cSldViewPr snapToGrid="0">
      <p:cViewPr>
        <p:scale>
          <a:sx n="1" d="2"/>
          <a:sy n="1" d="2"/>
        </p:scale>
        <p:origin x="0" y="0"/>
      </p:cViewPr>
      <p:guideLst>
        <p:guide orient="horz" pos="4526"/>
        <p:guide pos="313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chlan Iape" userId="3127c616-97ab-4b9a-80db-8edf7e2f3cde" providerId="ADAL" clId="{9C675B8F-A40C-4E09-9D8C-AAB6285E36D4}"/>
    <pc:docChg chg="modSld">
      <pc:chgData name="Lachlan Iape" userId="3127c616-97ab-4b9a-80db-8edf7e2f3cde" providerId="ADAL" clId="{9C675B8F-A40C-4E09-9D8C-AAB6285E36D4}" dt="2024-09-04T01:42:18.138" v="0" actId="14100"/>
      <pc:docMkLst>
        <pc:docMk/>
      </pc:docMkLst>
      <pc:sldChg chg="modSp mod">
        <pc:chgData name="Lachlan Iape" userId="3127c616-97ab-4b9a-80db-8edf7e2f3cde" providerId="ADAL" clId="{9C675B8F-A40C-4E09-9D8C-AAB6285E36D4}" dt="2024-09-04T01:42:18.138" v="0" actId="14100"/>
        <pc:sldMkLst>
          <pc:docMk/>
          <pc:sldMk cId="2887098628" sldId="2147471648"/>
        </pc:sldMkLst>
        <pc:spChg chg="mod">
          <ac:chgData name="Lachlan Iape" userId="3127c616-97ab-4b9a-80db-8edf7e2f3cde" providerId="ADAL" clId="{9C675B8F-A40C-4E09-9D8C-AAB6285E36D4}" dt="2024-09-04T01:42:18.138" v="0" actId="14100"/>
          <ac:spMkLst>
            <pc:docMk/>
            <pc:sldMk cId="2887098628" sldId="2147471648"/>
            <ac:spMk id="15" creationId="{5A26544D-C393-6411-1B4F-4C4D5606DA2E}"/>
          </ac:spMkLst>
        </pc:spChg>
      </pc:sldChg>
    </pc:docChg>
  </pc:docChgLst>
  <pc:docChgLst>
    <pc:chgData name="Colin Watson" userId="f5e523bd-da60-44d7-a928-0f65409075c6" providerId="ADAL" clId="{F46AB22A-40B7-43A8-9553-530D56FEB4AD}"/>
    <pc:docChg chg="custSel modSld">
      <pc:chgData name="Colin Watson" userId="f5e523bd-da60-44d7-a928-0f65409075c6" providerId="ADAL" clId="{F46AB22A-40B7-43A8-9553-530D56FEB4AD}" dt="2024-10-22T04:53:56.042" v="436" actId="207"/>
      <pc:docMkLst>
        <pc:docMk/>
      </pc:docMkLst>
      <pc:sldChg chg="modSp mod modCm">
        <pc:chgData name="Colin Watson" userId="f5e523bd-da60-44d7-a928-0f65409075c6" providerId="ADAL" clId="{F46AB22A-40B7-43A8-9553-530D56FEB4AD}" dt="2024-10-22T04:52:47.493" v="429" actId="20577"/>
        <pc:sldMkLst>
          <pc:docMk/>
          <pc:sldMk cId="3575811757" sldId="2147471719"/>
        </pc:sldMkLst>
        <pc:spChg chg="mod">
          <ac:chgData name="Colin Watson" userId="f5e523bd-da60-44d7-a928-0f65409075c6" providerId="ADAL" clId="{F46AB22A-40B7-43A8-9553-530D56FEB4AD}" dt="2024-10-22T04:20:51.787" v="32" actId="207"/>
          <ac:spMkLst>
            <pc:docMk/>
            <pc:sldMk cId="3575811757" sldId="2147471719"/>
            <ac:spMk id="21" creationId="{FB2D641F-7EE6-BED9-C5FC-DF6B9F5C3E5D}"/>
          </ac:spMkLst>
        </pc:spChg>
        <pc:spChg chg="mod">
          <ac:chgData name="Colin Watson" userId="f5e523bd-da60-44d7-a928-0f65409075c6" providerId="ADAL" clId="{F46AB22A-40B7-43A8-9553-530D56FEB4AD}" dt="2024-10-22T04:52:47.493" v="429" actId="20577"/>
          <ac:spMkLst>
            <pc:docMk/>
            <pc:sldMk cId="3575811757" sldId="2147471719"/>
            <ac:spMk id="24" creationId="{A68786C5-0F08-67B4-EF2E-B2FD83DED675}"/>
          </ac:spMkLst>
        </pc:spChg>
        <pc:extLst>
          <p:ext xmlns:p="http://schemas.openxmlformats.org/presentationml/2006/main" uri="{D6D511B9-2390-475A-947B-AFAB55BFBCF1}">
            <pc226:cmChg xmlns:pc226="http://schemas.microsoft.com/office/powerpoint/2022/06/main/command" chg="mod">
              <pc226:chgData name="Colin Watson" userId="f5e523bd-da60-44d7-a928-0f65409075c6" providerId="ADAL" clId="{F46AB22A-40B7-43A8-9553-530D56FEB4AD}" dt="2024-10-22T04:52:47.493" v="429" actId="20577"/>
              <pc2:cmMkLst xmlns:pc2="http://schemas.microsoft.com/office/powerpoint/2019/9/main/command">
                <pc:docMk/>
                <pc:sldMk cId="3575811757" sldId="2147471719"/>
                <pc2:cmMk id="{D1246474-A31C-4B90-A646-E1D343154ABD}"/>
              </pc2:cmMkLst>
            </pc226:cmChg>
          </p:ext>
        </pc:extLst>
      </pc:sldChg>
      <pc:sldChg chg="modSp mod modCm">
        <pc:chgData name="Colin Watson" userId="f5e523bd-da60-44d7-a928-0f65409075c6" providerId="ADAL" clId="{F46AB22A-40B7-43A8-9553-530D56FEB4AD}" dt="2024-10-22T04:53:22.943" v="432" actId="207"/>
        <pc:sldMkLst>
          <pc:docMk/>
          <pc:sldMk cId="2717348167" sldId="2147471724"/>
        </pc:sldMkLst>
        <pc:spChg chg="mod">
          <ac:chgData name="Colin Watson" userId="f5e523bd-da60-44d7-a928-0f65409075c6" providerId="ADAL" clId="{F46AB22A-40B7-43A8-9553-530D56FEB4AD}" dt="2024-10-22T04:23:56.018" v="168" actId="20577"/>
          <ac:spMkLst>
            <pc:docMk/>
            <pc:sldMk cId="2717348167" sldId="2147471724"/>
            <ac:spMk id="2" creationId="{B068FAC4-4E35-4912-1E95-4C38FB047EE7}"/>
          </ac:spMkLst>
        </pc:spChg>
        <pc:spChg chg="mod">
          <ac:chgData name="Colin Watson" userId="f5e523bd-da60-44d7-a928-0f65409075c6" providerId="ADAL" clId="{F46AB22A-40B7-43A8-9553-530D56FEB4AD}" dt="2024-10-22T04:22:05.007" v="137" actId="20577"/>
          <ac:spMkLst>
            <pc:docMk/>
            <pc:sldMk cId="2717348167" sldId="2147471724"/>
            <ac:spMk id="3" creationId="{0B0E0EEE-AAF7-27D9-5453-D9B85663617E}"/>
          </ac:spMkLst>
        </pc:spChg>
        <pc:graphicFrameChg chg="modGraphic">
          <ac:chgData name="Colin Watson" userId="f5e523bd-da60-44d7-a928-0f65409075c6" providerId="ADAL" clId="{F46AB22A-40B7-43A8-9553-530D56FEB4AD}" dt="2024-10-22T04:53:22.943" v="432" actId="207"/>
          <ac:graphicFrameMkLst>
            <pc:docMk/>
            <pc:sldMk cId="2717348167" sldId="2147471724"/>
            <ac:graphicFrameMk id="4" creationId="{BD48924B-0496-CA2C-8D73-A47E59DB3E4C}"/>
          </ac:graphicFrameMkLst>
        </pc:graphicFrameChg>
        <pc:extLst>
          <p:ext xmlns:p="http://schemas.openxmlformats.org/presentationml/2006/main" uri="{D6D511B9-2390-475A-947B-AFAB55BFBCF1}">
            <pc226:cmChg xmlns:pc226="http://schemas.microsoft.com/office/powerpoint/2022/06/main/command" chg="mod">
              <pc226:chgData name="Colin Watson" userId="f5e523bd-da60-44d7-a928-0f65409075c6" providerId="ADAL" clId="{F46AB22A-40B7-43A8-9553-530D56FEB4AD}" dt="2024-10-22T04:22:05.007" v="137" actId="20577"/>
              <pc2:cmMkLst xmlns:pc2="http://schemas.microsoft.com/office/powerpoint/2019/9/main/command">
                <pc:docMk/>
                <pc:sldMk cId="2717348167" sldId="2147471724"/>
                <pc2:cmMk id="{D423B70D-49C8-4387-84D3-D1ACA55374DE}"/>
              </pc2:cmMkLst>
            </pc226:cmChg>
            <pc226:cmChg xmlns:pc226="http://schemas.microsoft.com/office/powerpoint/2022/06/main/command" chg="mod">
              <pc226:chgData name="Colin Watson" userId="f5e523bd-da60-44d7-a928-0f65409075c6" providerId="ADAL" clId="{F46AB22A-40B7-43A8-9553-530D56FEB4AD}" dt="2024-10-22T04:23:56.018" v="168" actId="20577"/>
              <pc2:cmMkLst xmlns:pc2="http://schemas.microsoft.com/office/powerpoint/2019/9/main/command">
                <pc:docMk/>
                <pc:sldMk cId="2717348167" sldId="2147471724"/>
                <pc2:cmMk id="{DDA7CC0E-87CE-4313-8FF6-9E633D340B3A}"/>
              </pc2:cmMkLst>
            </pc226:cmChg>
            <pc226:cmChg xmlns:pc226="http://schemas.microsoft.com/office/powerpoint/2022/06/main/command" chg="mod">
              <pc226:chgData name="Colin Watson" userId="f5e523bd-da60-44d7-a928-0f65409075c6" providerId="ADAL" clId="{F46AB22A-40B7-43A8-9553-530D56FEB4AD}" dt="2024-10-22T04:21:54.402" v="93" actId="20577"/>
              <pc2:cmMkLst xmlns:pc2="http://schemas.microsoft.com/office/powerpoint/2019/9/main/command">
                <pc:docMk/>
                <pc:sldMk cId="2717348167" sldId="2147471724"/>
                <pc2:cmMk id="{C8DD9116-2F12-44B2-BFD1-D92020E8DB06}"/>
              </pc2:cmMkLst>
            </pc226:cmChg>
          </p:ext>
        </pc:extLst>
      </pc:sldChg>
      <pc:sldChg chg="modSp mod modCm">
        <pc:chgData name="Colin Watson" userId="f5e523bd-da60-44d7-a928-0f65409075c6" providerId="ADAL" clId="{F46AB22A-40B7-43A8-9553-530D56FEB4AD}" dt="2024-10-22T04:20:29.210" v="31" actId="20577"/>
        <pc:sldMkLst>
          <pc:docMk/>
          <pc:sldMk cId="825503615" sldId="2147471730"/>
        </pc:sldMkLst>
        <pc:spChg chg="mod">
          <ac:chgData name="Colin Watson" userId="f5e523bd-da60-44d7-a928-0f65409075c6" providerId="ADAL" clId="{F46AB22A-40B7-43A8-9553-530D56FEB4AD}" dt="2024-10-22T04:20:29.210" v="31" actId="20577"/>
          <ac:spMkLst>
            <pc:docMk/>
            <pc:sldMk cId="825503615" sldId="2147471730"/>
            <ac:spMk id="3" creationId="{70A675F7-CAF4-83EC-53BD-56B259073B05}"/>
          </ac:spMkLst>
        </pc:spChg>
        <pc:extLst>
          <p:ext xmlns:p="http://schemas.openxmlformats.org/presentationml/2006/main" uri="{D6D511B9-2390-475A-947B-AFAB55BFBCF1}">
            <pc226:cmChg xmlns:pc226="http://schemas.microsoft.com/office/powerpoint/2022/06/main/command" chg="mod">
              <pc226:chgData name="Colin Watson" userId="f5e523bd-da60-44d7-a928-0f65409075c6" providerId="ADAL" clId="{F46AB22A-40B7-43A8-9553-530D56FEB4AD}" dt="2024-10-22T04:20:29.210" v="31" actId="20577"/>
              <pc2:cmMkLst xmlns:pc2="http://schemas.microsoft.com/office/powerpoint/2019/9/main/command">
                <pc:docMk/>
                <pc:sldMk cId="825503615" sldId="2147471730"/>
                <pc2:cmMk id="{8271718F-F834-44BB-A7DC-7E4AA119CD2A}"/>
              </pc2:cmMkLst>
            </pc226:cmChg>
          </p:ext>
        </pc:extLst>
      </pc:sldChg>
      <pc:sldChg chg="modSp mod modCm">
        <pc:chgData name="Colin Watson" userId="f5e523bd-da60-44d7-a928-0f65409075c6" providerId="ADAL" clId="{F46AB22A-40B7-43A8-9553-530D56FEB4AD}" dt="2024-10-22T04:21:39.050" v="84" actId="20577"/>
        <pc:sldMkLst>
          <pc:docMk/>
          <pc:sldMk cId="4210671229" sldId="2147471734"/>
        </pc:sldMkLst>
        <pc:spChg chg="mod">
          <ac:chgData name="Colin Watson" userId="f5e523bd-da60-44d7-a928-0f65409075c6" providerId="ADAL" clId="{F46AB22A-40B7-43A8-9553-530D56FEB4AD}" dt="2024-10-22T04:21:10.617" v="58" actId="20577"/>
          <ac:spMkLst>
            <pc:docMk/>
            <pc:sldMk cId="4210671229" sldId="2147471734"/>
            <ac:spMk id="3" creationId="{70A675F7-CAF4-83EC-53BD-56B259073B05}"/>
          </ac:spMkLst>
        </pc:spChg>
        <pc:spChg chg="mod">
          <ac:chgData name="Colin Watson" userId="f5e523bd-da60-44d7-a928-0f65409075c6" providerId="ADAL" clId="{F46AB22A-40B7-43A8-9553-530D56FEB4AD}" dt="2024-10-22T04:21:39.050" v="84" actId="20577"/>
          <ac:spMkLst>
            <pc:docMk/>
            <pc:sldMk cId="4210671229" sldId="2147471734"/>
            <ac:spMk id="16" creationId="{A63029EC-539F-421E-11B9-C159749E0ADC}"/>
          </ac:spMkLst>
        </pc:spChg>
        <pc:spChg chg="mod">
          <ac:chgData name="Colin Watson" userId="f5e523bd-da60-44d7-a928-0f65409075c6" providerId="ADAL" clId="{F46AB22A-40B7-43A8-9553-530D56FEB4AD}" dt="2024-10-22T04:21:16.867" v="72" actId="20577"/>
          <ac:spMkLst>
            <pc:docMk/>
            <pc:sldMk cId="4210671229" sldId="2147471734"/>
            <ac:spMk id="28" creationId="{A3A5CE9D-3A16-BFF2-E713-736928FCEE73}"/>
          </ac:spMkLst>
        </pc:spChg>
        <pc:extLst>
          <p:ext xmlns:p="http://schemas.openxmlformats.org/presentationml/2006/main" uri="{D6D511B9-2390-475A-947B-AFAB55BFBCF1}">
            <pc226:cmChg xmlns:pc226="http://schemas.microsoft.com/office/powerpoint/2022/06/main/command" chg="mod">
              <pc226:chgData name="Colin Watson" userId="f5e523bd-da60-44d7-a928-0f65409075c6" providerId="ADAL" clId="{F46AB22A-40B7-43A8-9553-530D56FEB4AD}" dt="2024-10-22T04:21:10.617" v="58" actId="20577"/>
              <pc2:cmMkLst xmlns:pc2="http://schemas.microsoft.com/office/powerpoint/2019/9/main/command">
                <pc:docMk/>
                <pc:sldMk cId="4210671229" sldId="2147471734"/>
                <pc2:cmMk id="{BB75BFAA-A025-4D30-9179-F36A39FA42F5}"/>
              </pc2:cmMkLst>
            </pc226:cmChg>
            <pc226:cmChg xmlns:pc226="http://schemas.microsoft.com/office/powerpoint/2022/06/main/command" chg="mod">
              <pc226:chgData name="Colin Watson" userId="f5e523bd-da60-44d7-a928-0f65409075c6" providerId="ADAL" clId="{F46AB22A-40B7-43A8-9553-530D56FEB4AD}" dt="2024-10-22T04:21:16.867" v="72" actId="20577"/>
              <pc2:cmMkLst xmlns:pc2="http://schemas.microsoft.com/office/powerpoint/2019/9/main/command">
                <pc:docMk/>
                <pc:sldMk cId="4210671229" sldId="2147471734"/>
                <pc2:cmMk id="{79A2FFC4-9615-453F-8261-B24861698E0B}"/>
              </pc2:cmMkLst>
            </pc226:cmChg>
          </p:ext>
        </pc:extLst>
      </pc:sldChg>
      <pc:sldChg chg="modSp mod modCm">
        <pc:chgData name="Colin Watson" userId="f5e523bd-da60-44d7-a928-0f65409075c6" providerId="ADAL" clId="{F46AB22A-40B7-43A8-9553-530D56FEB4AD}" dt="2024-10-22T04:53:41.792" v="433" actId="207"/>
        <pc:sldMkLst>
          <pc:docMk/>
          <pc:sldMk cId="705608436" sldId="2147471735"/>
        </pc:sldMkLst>
        <pc:spChg chg="mod">
          <ac:chgData name="Colin Watson" userId="f5e523bd-da60-44d7-a928-0f65409075c6" providerId="ADAL" clId="{F46AB22A-40B7-43A8-9553-530D56FEB4AD}" dt="2024-10-22T04:24:32.252" v="233" actId="20577"/>
          <ac:spMkLst>
            <pc:docMk/>
            <pc:sldMk cId="705608436" sldId="2147471735"/>
            <ac:spMk id="2" creationId="{B068FAC4-4E35-4912-1E95-4C38FB047EE7}"/>
          </ac:spMkLst>
        </pc:spChg>
        <pc:spChg chg="mod">
          <ac:chgData name="Colin Watson" userId="f5e523bd-da60-44d7-a928-0f65409075c6" providerId="ADAL" clId="{F46AB22A-40B7-43A8-9553-530D56FEB4AD}" dt="2024-10-22T04:24:19.268" v="188" actId="20577"/>
          <ac:spMkLst>
            <pc:docMk/>
            <pc:sldMk cId="705608436" sldId="2147471735"/>
            <ac:spMk id="3" creationId="{0B0E0EEE-AAF7-27D9-5453-D9B85663617E}"/>
          </ac:spMkLst>
        </pc:spChg>
        <pc:graphicFrameChg chg="modGraphic">
          <ac:chgData name="Colin Watson" userId="f5e523bd-da60-44d7-a928-0f65409075c6" providerId="ADAL" clId="{F46AB22A-40B7-43A8-9553-530D56FEB4AD}" dt="2024-10-22T04:53:41.792" v="433" actId="207"/>
          <ac:graphicFrameMkLst>
            <pc:docMk/>
            <pc:sldMk cId="705608436" sldId="2147471735"/>
            <ac:graphicFrameMk id="4" creationId="{BD48924B-0496-CA2C-8D73-A47E59DB3E4C}"/>
          </ac:graphicFrameMkLst>
        </pc:graphicFrameChg>
        <pc:extLst>
          <p:ext xmlns:p="http://schemas.openxmlformats.org/presentationml/2006/main" uri="{D6D511B9-2390-475A-947B-AFAB55BFBCF1}">
            <pc226:cmChg xmlns:pc226="http://schemas.microsoft.com/office/powerpoint/2022/06/main/command" chg="mod">
              <pc226:chgData name="Colin Watson" userId="f5e523bd-da60-44d7-a928-0f65409075c6" providerId="ADAL" clId="{F46AB22A-40B7-43A8-9553-530D56FEB4AD}" dt="2024-10-22T04:24:19.268" v="188" actId="20577"/>
              <pc2:cmMkLst xmlns:pc2="http://schemas.microsoft.com/office/powerpoint/2019/9/main/command">
                <pc:docMk/>
                <pc:sldMk cId="705608436" sldId="2147471735"/>
                <pc2:cmMk id="{65E9F458-EEED-4B7E-982F-F1D5628AF7E6}"/>
              </pc2:cmMkLst>
            </pc226:cmChg>
            <pc226:cmChg xmlns:pc226="http://schemas.microsoft.com/office/powerpoint/2022/06/main/command" chg="mod">
              <pc226:chgData name="Colin Watson" userId="f5e523bd-da60-44d7-a928-0f65409075c6" providerId="ADAL" clId="{F46AB22A-40B7-43A8-9553-530D56FEB4AD}" dt="2024-10-22T04:24:32.252" v="233" actId="20577"/>
              <pc2:cmMkLst xmlns:pc2="http://schemas.microsoft.com/office/powerpoint/2019/9/main/command">
                <pc:docMk/>
                <pc:sldMk cId="705608436" sldId="2147471735"/>
                <pc2:cmMk id="{6A816182-6305-4C25-834B-1B7FBC273BF3}"/>
              </pc2:cmMkLst>
            </pc226:cmChg>
          </p:ext>
        </pc:extLst>
      </pc:sldChg>
      <pc:sldChg chg="modSp mod modCm">
        <pc:chgData name="Colin Watson" userId="f5e523bd-da60-44d7-a928-0f65409075c6" providerId="ADAL" clId="{F46AB22A-40B7-43A8-9553-530D56FEB4AD}" dt="2024-10-22T04:53:46.876" v="434" actId="207"/>
        <pc:sldMkLst>
          <pc:docMk/>
          <pc:sldMk cId="3355992997" sldId="2147471736"/>
        </pc:sldMkLst>
        <pc:spChg chg="mod">
          <ac:chgData name="Colin Watson" userId="f5e523bd-da60-44d7-a928-0f65409075c6" providerId="ADAL" clId="{F46AB22A-40B7-43A8-9553-530D56FEB4AD}" dt="2024-10-22T04:24:55.251" v="296" actId="20577"/>
          <ac:spMkLst>
            <pc:docMk/>
            <pc:sldMk cId="3355992997" sldId="2147471736"/>
            <ac:spMk id="2" creationId="{B068FAC4-4E35-4912-1E95-4C38FB047EE7}"/>
          </ac:spMkLst>
        </pc:spChg>
        <pc:spChg chg="mod">
          <ac:chgData name="Colin Watson" userId="f5e523bd-da60-44d7-a928-0f65409075c6" providerId="ADAL" clId="{F46AB22A-40B7-43A8-9553-530D56FEB4AD}" dt="2024-10-22T04:24:38.752" v="244" actId="20577"/>
          <ac:spMkLst>
            <pc:docMk/>
            <pc:sldMk cId="3355992997" sldId="2147471736"/>
            <ac:spMk id="3" creationId="{0B0E0EEE-AAF7-27D9-5453-D9B85663617E}"/>
          </ac:spMkLst>
        </pc:spChg>
        <pc:graphicFrameChg chg="modGraphic">
          <ac:chgData name="Colin Watson" userId="f5e523bd-da60-44d7-a928-0f65409075c6" providerId="ADAL" clId="{F46AB22A-40B7-43A8-9553-530D56FEB4AD}" dt="2024-10-22T04:53:46.876" v="434" actId="207"/>
          <ac:graphicFrameMkLst>
            <pc:docMk/>
            <pc:sldMk cId="3355992997" sldId="2147471736"/>
            <ac:graphicFrameMk id="4" creationId="{BD48924B-0496-CA2C-8D73-A47E59DB3E4C}"/>
          </ac:graphicFrameMkLst>
        </pc:graphicFrameChg>
        <pc:extLst>
          <p:ext xmlns:p="http://schemas.openxmlformats.org/presentationml/2006/main" uri="{D6D511B9-2390-475A-947B-AFAB55BFBCF1}">
            <pc226:cmChg xmlns:pc226="http://schemas.microsoft.com/office/powerpoint/2022/06/main/command" chg="mod">
              <pc226:chgData name="Colin Watson" userId="f5e523bd-da60-44d7-a928-0f65409075c6" providerId="ADAL" clId="{F46AB22A-40B7-43A8-9553-530D56FEB4AD}" dt="2024-10-22T04:24:55.251" v="296" actId="20577"/>
              <pc2:cmMkLst xmlns:pc2="http://schemas.microsoft.com/office/powerpoint/2019/9/main/command">
                <pc:docMk/>
                <pc:sldMk cId="3355992997" sldId="2147471736"/>
                <pc2:cmMk id="{C8B2485F-D600-424F-A8A4-6D72BF8C4575}"/>
              </pc2:cmMkLst>
            </pc226:cmChg>
          </p:ext>
        </pc:extLst>
      </pc:sldChg>
      <pc:sldChg chg="modSp mod modCm">
        <pc:chgData name="Colin Watson" userId="f5e523bd-da60-44d7-a928-0f65409075c6" providerId="ADAL" clId="{F46AB22A-40B7-43A8-9553-530D56FEB4AD}" dt="2024-10-22T04:53:56.042" v="436" actId="207"/>
        <pc:sldMkLst>
          <pc:docMk/>
          <pc:sldMk cId="2074949178" sldId="2147471737"/>
        </pc:sldMkLst>
        <pc:spChg chg="mod">
          <ac:chgData name="Colin Watson" userId="f5e523bd-da60-44d7-a928-0f65409075c6" providerId="ADAL" clId="{F46AB22A-40B7-43A8-9553-530D56FEB4AD}" dt="2024-10-22T04:53:56.042" v="436" actId="207"/>
          <ac:spMkLst>
            <pc:docMk/>
            <pc:sldMk cId="2074949178" sldId="2147471737"/>
            <ac:spMk id="2" creationId="{B068FAC4-4E35-4912-1E95-4C38FB047EE7}"/>
          </ac:spMkLst>
        </pc:spChg>
        <pc:spChg chg="mod">
          <ac:chgData name="Colin Watson" userId="f5e523bd-da60-44d7-a928-0f65409075c6" providerId="ADAL" clId="{F46AB22A-40B7-43A8-9553-530D56FEB4AD}" dt="2024-10-22T04:25:03.070" v="311" actId="20577"/>
          <ac:spMkLst>
            <pc:docMk/>
            <pc:sldMk cId="2074949178" sldId="2147471737"/>
            <ac:spMk id="3" creationId="{0B0E0EEE-AAF7-27D9-5453-D9B85663617E}"/>
          </ac:spMkLst>
        </pc:spChg>
        <pc:graphicFrameChg chg="modGraphic">
          <ac:chgData name="Colin Watson" userId="f5e523bd-da60-44d7-a928-0f65409075c6" providerId="ADAL" clId="{F46AB22A-40B7-43A8-9553-530D56FEB4AD}" dt="2024-10-22T04:53:53.835" v="435" actId="207"/>
          <ac:graphicFrameMkLst>
            <pc:docMk/>
            <pc:sldMk cId="2074949178" sldId="2147471737"/>
            <ac:graphicFrameMk id="4" creationId="{BD48924B-0496-CA2C-8D73-A47E59DB3E4C}"/>
          </ac:graphicFrameMkLst>
        </pc:graphicFrameChg>
        <pc:extLst>
          <p:ext xmlns:p="http://schemas.openxmlformats.org/presentationml/2006/main" uri="{D6D511B9-2390-475A-947B-AFAB55BFBCF1}">
            <pc226:cmChg xmlns:pc226="http://schemas.microsoft.com/office/powerpoint/2022/06/main/command" chg="mod">
              <pc226:chgData name="Colin Watson" userId="f5e523bd-da60-44d7-a928-0f65409075c6" providerId="ADAL" clId="{F46AB22A-40B7-43A8-9553-530D56FEB4AD}" dt="2024-10-22T04:25:03.070" v="311" actId="20577"/>
              <pc2:cmMkLst xmlns:pc2="http://schemas.microsoft.com/office/powerpoint/2019/9/main/command">
                <pc:docMk/>
                <pc:sldMk cId="2074949178" sldId="2147471737"/>
                <pc2:cmMk id="{D8B0F868-1C4A-4958-9F8C-DBF93DBDE4AD}"/>
              </pc2:cmMkLst>
            </pc226:cmChg>
            <pc226:cmChg xmlns:pc226="http://schemas.microsoft.com/office/powerpoint/2022/06/main/command" chg="mod">
              <pc226:chgData name="Colin Watson" userId="f5e523bd-da60-44d7-a928-0f65409075c6" providerId="ADAL" clId="{F46AB22A-40B7-43A8-9553-530D56FEB4AD}" dt="2024-10-22T04:25:13.504" v="352" actId="20577"/>
              <pc2:cmMkLst xmlns:pc2="http://schemas.microsoft.com/office/powerpoint/2019/9/main/command">
                <pc:docMk/>
                <pc:sldMk cId="2074949178" sldId="2147471737"/>
                <pc2:cmMk id="{0DDC4573-9AA5-4A80-901C-121B1FD50B3E}"/>
              </pc2:cmMkLst>
            </pc226:cmChg>
          </p:ext>
        </pc:extLst>
      </pc:sldChg>
    </pc:docChg>
  </pc:docChgLst>
  <pc:docChgLst>
    <pc:chgData name="Colin Watson" userId="f5e523bd-da60-44d7-a928-0f65409075c6" providerId="ADAL" clId="{C6D2A783-7602-4F28-922F-DE2C776C2977}"/>
    <pc:docChg chg="undo custSel addSld delSld modSld modSection">
      <pc:chgData name="Colin Watson" userId="f5e523bd-da60-44d7-a928-0f65409075c6" providerId="ADAL" clId="{C6D2A783-7602-4F28-922F-DE2C776C2977}" dt="2024-09-18T05:50:27.132" v="664" actId="1038"/>
      <pc:docMkLst>
        <pc:docMk/>
      </pc:docMkLst>
      <pc:sldChg chg="modSp add del mod">
        <pc:chgData name="Colin Watson" userId="f5e523bd-da60-44d7-a928-0f65409075c6" providerId="ADAL" clId="{C6D2A783-7602-4F28-922F-DE2C776C2977}" dt="2024-09-18T05:49:41.876" v="636" actId="47"/>
        <pc:sldMkLst>
          <pc:docMk/>
          <pc:sldMk cId="2083619045" sldId="2147471602"/>
        </pc:sldMkLst>
        <pc:spChg chg="mod">
          <ac:chgData name="Colin Watson" userId="f5e523bd-da60-44d7-a928-0f65409075c6" providerId="ADAL" clId="{C6D2A783-7602-4F28-922F-DE2C776C2977}" dt="2024-09-17T06:57:57.030" v="620" actId="20577"/>
          <ac:spMkLst>
            <pc:docMk/>
            <pc:sldMk cId="2083619045" sldId="2147471602"/>
            <ac:spMk id="4" creationId="{74695963-93D3-CEED-3211-EA22860FE331}"/>
          </ac:spMkLst>
        </pc:spChg>
      </pc:sldChg>
      <pc:sldChg chg="modSp mod">
        <pc:chgData name="Colin Watson" userId="f5e523bd-da60-44d7-a928-0f65409075c6" providerId="ADAL" clId="{C6D2A783-7602-4F28-922F-DE2C776C2977}" dt="2024-09-17T06:29:37.214" v="11" actId="20577"/>
        <pc:sldMkLst>
          <pc:docMk/>
          <pc:sldMk cId="3575811757" sldId="2147471719"/>
        </pc:sldMkLst>
        <pc:spChg chg="mod">
          <ac:chgData name="Colin Watson" userId="f5e523bd-da60-44d7-a928-0f65409075c6" providerId="ADAL" clId="{C6D2A783-7602-4F28-922F-DE2C776C2977}" dt="2024-09-17T06:26:19.499" v="0" actId="1076"/>
          <ac:spMkLst>
            <pc:docMk/>
            <pc:sldMk cId="3575811757" sldId="2147471719"/>
            <ac:spMk id="5" creationId="{414FB662-191A-6AE4-B396-41A4E291EEB6}"/>
          </ac:spMkLst>
        </pc:spChg>
        <pc:spChg chg="mod">
          <ac:chgData name="Colin Watson" userId="f5e523bd-da60-44d7-a928-0f65409075c6" providerId="ADAL" clId="{C6D2A783-7602-4F28-922F-DE2C776C2977}" dt="2024-09-17T06:26:19.499" v="0" actId="1076"/>
          <ac:spMkLst>
            <pc:docMk/>
            <pc:sldMk cId="3575811757" sldId="2147471719"/>
            <ac:spMk id="13" creationId="{0B97B9F7-FF65-85B1-EEB7-8A841D8AA593}"/>
          </ac:spMkLst>
        </pc:spChg>
        <pc:spChg chg="mod">
          <ac:chgData name="Colin Watson" userId="f5e523bd-da60-44d7-a928-0f65409075c6" providerId="ADAL" clId="{C6D2A783-7602-4F28-922F-DE2C776C2977}" dt="2024-09-17T06:29:37.214" v="11" actId="20577"/>
          <ac:spMkLst>
            <pc:docMk/>
            <pc:sldMk cId="3575811757" sldId="2147471719"/>
            <ac:spMk id="21" creationId="{FB2D641F-7EE6-BED9-C5FC-DF6B9F5C3E5D}"/>
          </ac:spMkLst>
        </pc:spChg>
        <pc:spChg chg="mod">
          <ac:chgData name="Colin Watson" userId="f5e523bd-da60-44d7-a928-0f65409075c6" providerId="ADAL" clId="{C6D2A783-7602-4F28-922F-DE2C776C2977}" dt="2024-09-17T06:26:19.499" v="0" actId="1076"/>
          <ac:spMkLst>
            <pc:docMk/>
            <pc:sldMk cId="3575811757" sldId="2147471719"/>
            <ac:spMk id="24" creationId="{A68786C5-0F08-67B4-EF2E-B2FD83DED675}"/>
          </ac:spMkLst>
        </pc:spChg>
        <pc:spChg chg="mod">
          <ac:chgData name="Colin Watson" userId="f5e523bd-da60-44d7-a928-0f65409075c6" providerId="ADAL" clId="{C6D2A783-7602-4F28-922F-DE2C776C2977}" dt="2024-09-17T06:26:19.499" v="0" actId="1076"/>
          <ac:spMkLst>
            <pc:docMk/>
            <pc:sldMk cId="3575811757" sldId="2147471719"/>
            <ac:spMk id="25" creationId="{7468EDA2-3039-B298-282F-E1688E17F2A3}"/>
          </ac:spMkLst>
        </pc:spChg>
      </pc:sldChg>
      <pc:sldChg chg="modSp mod">
        <pc:chgData name="Colin Watson" userId="f5e523bd-da60-44d7-a928-0f65409075c6" providerId="ADAL" clId="{C6D2A783-7602-4F28-922F-DE2C776C2977}" dt="2024-09-17T06:49:13.369" v="420" actId="20577"/>
        <pc:sldMkLst>
          <pc:docMk/>
          <pc:sldMk cId="2717348167" sldId="2147471724"/>
        </pc:sldMkLst>
        <pc:graphicFrameChg chg="modGraphic">
          <ac:chgData name="Colin Watson" userId="f5e523bd-da60-44d7-a928-0f65409075c6" providerId="ADAL" clId="{C6D2A783-7602-4F28-922F-DE2C776C2977}" dt="2024-09-17T06:49:13.369" v="420" actId="20577"/>
          <ac:graphicFrameMkLst>
            <pc:docMk/>
            <pc:sldMk cId="2717348167" sldId="2147471724"/>
            <ac:graphicFrameMk id="4" creationId="{BD48924B-0496-CA2C-8D73-A47E59DB3E4C}"/>
          </ac:graphicFrameMkLst>
        </pc:graphicFrameChg>
      </pc:sldChg>
      <pc:sldChg chg="modSp mod">
        <pc:chgData name="Colin Watson" userId="f5e523bd-da60-44d7-a928-0f65409075c6" providerId="ADAL" clId="{C6D2A783-7602-4F28-922F-DE2C776C2977}" dt="2024-09-17T06:30:07.411" v="36" actId="20577"/>
        <pc:sldMkLst>
          <pc:docMk/>
          <pc:sldMk cId="3735286326" sldId="2147471729"/>
        </pc:sldMkLst>
        <pc:spChg chg="mod">
          <ac:chgData name="Colin Watson" userId="f5e523bd-da60-44d7-a928-0f65409075c6" providerId="ADAL" clId="{C6D2A783-7602-4F28-922F-DE2C776C2977}" dt="2024-09-17T06:30:07.411" v="36" actId="20577"/>
          <ac:spMkLst>
            <pc:docMk/>
            <pc:sldMk cId="3735286326" sldId="2147471729"/>
            <ac:spMk id="9" creationId="{EC7C2BED-2407-5028-C4AF-EF23897CE63F}"/>
          </ac:spMkLst>
        </pc:spChg>
      </pc:sldChg>
      <pc:sldChg chg="addSp delSp modSp mod">
        <pc:chgData name="Colin Watson" userId="f5e523bd-da60-44d7-a928-0f65409075c6" providerId="ADAL" clId="{C6D2A783-7602-4F28-922F-DE2C776C2977}" dt="2024-09-18T05:50:27.132" v="664" actId="1038"/>
        <pc:sldMkLst>
          <pc:docMk/>
          <pc:sldMk cId="825503615" sldId="2147471730"/>
        </pc:sldMkLst>
        <pc:spChg chg="mod">
          <ac:chgData name="Colin Watson" userId="f5e523bd-da60-44d7-a928-0f65409075c6" providerId="ADAL" clId="{C6D2A783-7602-4F28-922F-DE2C776C2977}" dt="2024-09-18T00:28:51.389" v="623"/>
          <ac:spMkLst>
            <pc:docMk/>
            <pc:sldMk cId="825503615" sldId="2147471730"/>
            <ac:spMk id="3" creationId="{70A675F7-CAF4-83EC-53BD-56B259073B05}"/>
          </ac:spMkLst>
        </pc:spChg>
        <pc:spChg chg="mod">
          <ac:chgData name="Colin Watson" userId="f5e523bd-da60-44d7-a928-0f65409075c6" providerId="ADAL" clId="{C6D2A783-7602-4F28-922F-DE2C776C2977}" dt="2024-09-18T05:50:09.935" v="655" actId="1076"/>
          <ac:spMkLst>
            <pc:docMk/>
            <pc:sldMk cId="825503615" sldId="2147471730"/>
            <ac:spMk id="4" creationId="{E3FDAD9A-A06A-5452-AC9C-A76FA8FA354D}"/>
          </ac:spMkLst>
        </pc:spChg>
        <pc:spChg chg="mod">
          <ac:chgData name="Colin Watson" userId="f5e523bd-da60-44d7-a928-0f65409075c6" providerId="ADAL" clId="{C6D2A783-7602-4F28-922F-DE2C776C2977}" dt="2024-09-17T06:35:23.041" v="139" actId="113"/>
          <ac:spMkLst>
            <pc:docMk/>
            <pc:sldMk cId="825503615" sldId="2147471730"/>
            <ac:spMk id="6" creationId="{E1296918-AD6D-C9E2-9E46-991182C85F7C}"/>
          </ac:spMkLst>
        </pc:spChg>
        <pc:spChg chg="mod">
          <ac:chgData name="Colin Watson" userId="f5e523bd-da60-44d7-a928-0f65409075c6" providerId="ADAL" clId="{C6D2A783-7602-4F28-922F-DE2C776C2977}" dt="2024-09-18T05:50:09.935" v="655" actId="1076"/>
          <ac:spMkLst>
            <pc:docMk/>
            <pc:sldMk cId="825503615" sldId="2147471730"/>
            <ac:spMk id="7" creationId="{39E79785-8D7E-56E8-B788-31D66BDCF50F}"/>
          </ac:spMkLst>
        </pc:spChg>
        <pc:spChg chg="mod">
          <ac:chgData name="Colin Watson" userId="f5e523bd-da60-44d7-a928-0f65409075c6" providerId="ADAL" clId="{C6D2A783-7602-4F28-922F-DE2C776C2977}" dt="2024-09-18T05:50:09.935" v="655" actId="1076"/>
          <ac:spMkLst>
            <pc:docMk/>
            <pc:sldMk cId="825503615" sldId="2147471730"/>
            <ac:spMk id="8" creationId="{AFB56AB2-0243-6285-E066-0CF0698CE95F}"/>
          </ac:spMkLst>
        </pc:spChg>
        <pc:spChg chg="mod">
          <ac:chgData name="Colin Watson" userId="f5e523bd-da60-44d7-a928-0f65409075c6" providerId="ADAL" clId="{C6D2A783-7602-4F28-922F-DE2C776C2977}" dt="2024-09-18T05:50:09.935" v="655" actId="1076"/>
          <ac:spMkLst>
            <pc:docMk/>
            <pc:sldMk cId="825503615" sldId="2147471730"/>
            <ac:spMk id="9" creationId="{914A0820-BC18-B429-164F-182B24F51599}"/>
          </ac:spMkLst>
        </pc:spChg>
        <pc:spChg chg="add del mod">
          <ac:chgData name="Colin Watson" userId="f5e523bd-da60-44d7-a928-0f65409075c6" providerId="ADAL" clId="{C6D2A783-7602-4F28-922F-DE2C776C2977}" dt="2024-09-18T05:49:38.272" v="635" actId="478"/>
          <ac:spMkLst>
            <pc:docMk/>
            <pc:sldMk cId="825503615" sldId="2147471730"/>
            <ac:spMk id="10" creationId="{EC6C902A-4697-D052-61BF-8BE8B0AEDF9C}"/>
          </ac:spMkLst>
        </pc:spChg>
        <pc:spChg chg="mod">
          <ac:chgData name="Colin Watson" userId="f5e523bd-da60-44d7-a928-0f65409075c6" providerId="ADAL" clId="{C6D2A783-7602-4F28-922F-DE2C776C2977}" dt="2024-09-17T06:40:35.044" v="250" actId="113"/>
          <ac:spMkLst>
            <pc:docMk/>
            <pc:sldMk cId="825503615" sldId="2147471730"/>
            <ac:spMk id="19" creationId="{02BB176B-8255-2661-B555-82EC2B34FEEA}"/>
          </ac:spMkLst>
        </pc:spChg>
        <pc:spChg chg="mod">
          <ac:chgData name="Colin Watson" userId="f5e523bd-da60-44d7-a928-0f65409075c6" providerId="ADAL" clId="{C6D2A783-7602-4F28-922F-DE2C776C2977}" dt="2024-09-17T06:40:40.926" v="251" actId="20577"/>
          <ac:spMkLst>
            <pc:docMk/>
            <pc:sldMk cId="825503615" sldId="2147471730"/>
            <ac:spMk id="32" creationId="{89A7D073-8D92-326D-B42E-0A25872A81E6}"/>
          </ac:spMkLst>
        </pc:spChg>
        <pc:spChg chg="mod">
          <ac:chgData name="Colin Watson" userId="f5e523bd-da60-44d7-a928-0f65409075c6" providerId="ADAL" clId="{C6D2A783-7602-4F28-922F-DE2C776C2977}" dt="2024-09-17T06:39:02.424" v="195" actId="20577"/>
          <ac:spMkLst>
            <pc:docMk/>
            <pc:sldMk cId="825503615" sldId="2147471730"/>
            <ac:spMk id="34" creationId="{4922F213-5653-C8BF-860E-6953E15025E5}"/>
          </ac:spMkLst>
        </pc:spChg>
        <pc:spChg chg="mod">
          <ac:chgData name="Colin Watson" userId="f5e523bd-da60-44d7-a928-0f65409075c6" providerId="ADAL" clId="{C6D2A783-7602-4F28-922F-DE2C776C2977}" dt="2024-09-18T05:50:12.821" v="656" actId="1076"/>
          <ac:spMkLst>
            <pc:docMk/>
            <pc:sldMk cId="825503615" sldId="2147471730"/>
            <ac:spMk id="37" creationId="{BFEE6266-3ADD-34FF-4E15-EF2B5379CF0E}"/>
          </ac:spMkLst>
        </pc:spChg>
        <pc:spChg chg="mod">
          <ac:chgData name="Colin Watson" userId="f5e523bd-da60-44d7-a928-0f65409075c6" providerId="ADAL" clId="{C6D2A783-7602-4F28-922F-DE2C776C2977}" dt="2024-09-18T05:50:12.821" v="656" actId="1076"/>
          <ac:spMkLst>
            <pc:docMk/>
            <pc:sldMk cId="825503615" sldId="2147471730"/>
            <ac:spMk id="38" creationId="{ED894B50-C744-8323-8AB2-8C1FDEAF7894}"/>
          </ac:spMkLst>
        </pc:spChg>
        <pc:spChg chg="mod">
          <ac:chgData name="Colin Watson" userId="f5e523bd-da60-44d7-a928-0f65409075c6" providerId="ADAL" clId="{C6D2A783-7602-4F28-922F-DE2C776C2977}" dt="2024-09-17T23:37:35.873" v="621"/>
          <ac:spMkLst>
            <pc:docMk/>
            <pc:sldMk cId="825503615" sldId="2147471730"/>
            <ac:spMk id="43" creationId="{E4BBEB7A-B70E-C2FB-D323-11ECD914BD2B}"/>
          </ac:spMkLst>
        </pc:spChg>
        <pc:spChg chg="mod">
          <ac:chgData name="Colin Watson" userId="f5e523bd-da60-44d7-a928-0f65409075c6" providerId="ADAL" clId="{C6D2A783-7602-4F28-922F-DE2C776C2977}" dt="2024-09-18T05:49:53.057" v="639"/>
          <ac:spMkLst>
            <pc:docMk/>
            <pc:sldMk cId="825503615" sldId="2147471730"/>
            <ac:spMk id="44" creationId="{9C43858B-5A97-3C3D-B6F8-AC63228C66E1}"/>
          </ac:spMkLst>
        </pc:spChg>
        <pc:spChg chg="mod">
          <ac:chgData name="Colin Watson" userId="f5e523bd-da60-44d7-a928-0f65409075c6" providerId="ADAL" clId="{C6D2A783-7602-4F28-922F-DE2C776C2977}" dt="2024-09-18T05:49:51.625" v="638" actId="20578"/>
          <ac:spMkLst>
            <pc:docMk/>
            <pc:sldMk cId="825503615" sldId="2147471730"/>
            <ac:spMk id="45" creationId="{47048286-AD81-DDD8-D2AA-100E287CDACB}"/>
          </ac:spMkLst>
        </pc:spChg>
        <pc:spChg chg="mod">
          <ac:chgData name="Colin Watson" userId="f5e523bd-da60-44d7-a928-0f65409075c6" providerId="ADAL" clId="{C6D2A783-7602-4F28-922F-DE2C776C2977}" dt="2024-09-18T05:49:56.191" v="640"/>
          <ac:spMkLst>
            <pc:docMk/>
            <pc:sldMk cId="825503615" sldId="2147471730"/>
            <ac:spMk id="47" creationId="{3C3FD4E8-DA51-BDCC-9597-037FA2A24F08}"/>
          </ac:spMkLst>
        </pc:spChg>
        <pc:spChg chg="mod">
          <ac:chgData name="Colin Watson" userId="f5e523bd-da60-44d7-a928-0f65409075c6" providerId="ADAL" clId="{C6D2A783-7602-4F28-922F-DE2C776C2977}" dt="2024-09-18T05:50:00.223" v="653" actId="20577"/>
          <ac:spMkLst>
            <pc:docMk/>
            <pc:sldMk cId="825503615" sldId="2147471730"/>
            <ac:spMk id="48" creationId="{9C23D14E-F3B0-90AA-AE27-394933390466}"/>
          </ac:spMkLst>
        </pc:spChg>
        <pc:grpChg chg="mod">
          <ac:chgData name="Colin Watson" userId="f5e523bd-da60-44d7-a928-0f65409075c6" providerId="ADAL" clId="{C6D2A783-7602-4F28-922F-DE2C776C2977}" dt="2024-09-18T05:50:09.935" v="655" actId="1076"/>
          <ac:grpSpMkLst>
            <pc:docMk/>
            <pc:sldMk cId="825503615" sldId="2147471730"/>
            <ac:grpSpMk id="2" creationId="{1AAF0710-D2E7-C6C8-1445-17E572AA04F6}"/>
          </ac:grpSpMkLst>
        </pc:grpChg>
        <pc:grpChg chg="mod">
          <ac:chgData name="Colin Watson" userId="f5e523bd-da60-44d7-a928-0f65409075c6" providerId="ADAL" clId="{C6D2A783-7602-4F28-922F-DE2C776C2977}" dt="2024-09-18T05:50:12.821" v="656" actId="1076"/>
          <ac:grpSpMkLst>
            <pc:docMk/>
            <pc:sldMk cId="825503615" sldId="2147471730"/>
            <ac:grpSpMk id="33" creationId="{49B164B3-1D0F-F092-974E-A4E1614E3E7B}"/>
          </ac:grpSpMkLst>
        </pc:grpChg>
        <pc:cxnChg chg="mod">
          <ac:chgData name="Colin Watson" userId="f5e523bd-da60-44d7-a928-0f65409075c6" providerId="ADAL" clId="{C6D2A783-7602-4F28-922F-DE2C776C2977}" dt="2024-09-18T05:50:27.132" v="664" actId="1038"/>
          <ac:cxnSpMkLst>
            <pc:docMk/>
            <pc:sldMk cId="825503615" sldId="2147471730"/>
            <ac:cxnSpMk id="55" creationId="{67388F11-638C-E9F7-03C0-CD9EF14BF0C1}"/>
          </ac:cxnSpMkLst>
        </pc:cxnChg>
        <pc:cxnChg chg="mod">
          <ac:chgData name="Colin Watson" userId="f5e523bd-da60-44d7-a928-0f65409075c6" providerId="ADAL" clId="{C6D2A783-7602-4F28-922F-DE2C776C2977}" dt="2024-09-18T05:50:23.264" v="658" actId="208"/>
          <ac:cxnSpMkLst>
            <pc:docMk/>
            <pc:sldMk cId="825503615" sldId="2147471730"/>
            <ac:cxnSpMk id="56" creationId="{ECCE297F-DB78-B2A2-3AD0-ADF43083D6B1}"/>
          </ac:cxnSpMkLst>
        </pc:cxnChg>
      </pc:sldChg>
      <pc:sldChg chg="modSp mod">
        <pc:chgData name="Colin Watson" userId="f5e523bd-da60-44d7-a928-0f65409075c6" providerId="ADAL" clId="{C6D2A783-7602-4F28-922F-DE2C776C2977}" dt="2024-09-17T06:42:08.111" v="283" actId="20577"/>
        <pc:sldMkLst>
          <pc:docMk/>
          <pc:sldMk cId="4210671229" sldId="2147471734"/>
        </pc:sldMkLst>
        <pc:spChg chg="mod">
          <ac:chgData name="Colin Watson" userId="f5e523bd-da60-44d7-a928-0f65409075c6" providerId="ADAL" clId="{C6D2A783-7602-4F28-922F-DE2C776C2977}" dt="2024-09-17T06:42:08.111" v="283" actId="20577"/>
          <ac:spMkLst>
            <pc:docMk/>
            <pc:sldMk cId="4210671229" sldId="2147471734"/>
            <ac:spMk id="6" creationId="{E1296918-AD6D-C9E2-9E46-991182C85F7C}"/>
          </ac:spMkLst>
        </pc:spChg>
      </pc:sldChg>
      <pc:sldChg chg="modSp mod">
        <pc:chgData name="Colin Watson" userId="f5e523bd-da60-44d7-a928-0f65409075c6" providerId="ADAL" clId="{C6D2A783-7602-4F28-922F-DE2C776C2977}" dt="2024-09-17T06:53:43.184" v="583" actId="113"/>
        <pc:sldMkLst>
          <pc:docMk/>
          <pc:sldMk cId="705608436" sldId="2147471735"/>
        </pc:sldMkLst>
        <pc:graphicFrameChg chg="mod modGraphic">
          <ac:chgData name="Colin Watson" userId="f5e523bd-da60-44d7-a928-0f65409075c6" providerId="ADAL" clId="{C6D2A783-7602-4F28-922F-DE2C776C2977}" dt="2024-09-17T06:53:43.184" v="583" actId="113"/>
          <ac:graphicFrameMkLst>
            <pc:docMk/>
            <pc:sldMk cId="705608436" sldId="2147471735"/>
            <ac:graphicFrameMk id="4" creationId="{BD48924B-0496-CA2C-8D73-A47E59DB3E4C}"/>
          </ac:graphicFrameMkLst>
        </pc:graphicFrameChg>
      </pc:sldChg>
      <pc:sldChg chg="modSp mod">
        <pc:chgData name="Colin Watson" userId="f5e523bd-da60-44d7-a928-0f65409075c6" providerId="ADAL" clId="{C6D2A783-7602-4F28-922F-DE2C776C2977}" dt="2024-09-17T06:53:45.536" v="584" actId="113"/>
        <pc:sldMkLst>
          <pc:docMk/>
          <pc:sldMk cId="3355992997" sldId="2147471736"/>
        </pc:sldMkLst>
        <pc:graphicFrameChg chg="modGraphic">
          <ac:chgData name="Colin Watson" userId="f5e523bd-da60-44d7-a928-0f65409075c6" providerId="ADAL" clId="{C6D2A783-7602-4F28-922F-DE2C776C2977}" dt="2024-09-17T06:53:45.536" v="584" actId="113"/>
          <ac:graphicFrameMkLst>
            <pc:docMk/>
            <pc:sldMk cId="3355992997" sldId="2147471736"/>
            <ac:graphicFrameMk id="4" creationId="{BD48924B-0496-CA2C-8D73-A47E59DB3E4C}"/>
          </ac:graphicFrameMkLst>
        </pc:graphicFrameChg>
      </pc:sldChg>
      <pc:sldChg chg="modSp mod">
        <pc:chgData name="Colin Watson" userId="f5e523bd-da60-44d7-a928-0f65409075c6" providerId="ADAL" clId="{C6D2A783-7602-4F28-922F-DE2C776C2977}" dt="2024-09-17T06:54:43.883" v="595" actId="6549"/>
        <pc:sldMkLst>
          <pc:docMk/>
          <pc:sldMk cId="2074949178" sldId="2147471737"/>
        </pc:sldMkLst>
        <pc:graphicFrameChg chg="modGraphic">
          <ac:chgData name="Colin Watson" userId="f5e523bd-da60-44d7-a928-0f65409075c6" providerId="ADAL" clId="{C6D2A783-7602-4F28-922F-DE2C776C2977}" dt="2024-09-17T06:54:43.883" v="595" actId="6549"/>
          <ac:graphicFrameMkLst>
            <pc:docMk/>
            <pc:sldMk cId="2074949178" sldId="2147471737"/>
            <ac:graphicFrameMk id="4" creationId="{BD48924B-0496-CA2C-8D73-A47E59DB3E4C}"/>
          </ac:graphicFrameMkLst>
        </pc:graphicFrameChg>
      </pc:sldChg>
    </pc:docChg>
  </pc:docChgLst>
  <pc:docChgLst>
    <pc:chgData name="Connor Xu" userId="a2fa5610-7f85-41f8-9630-afc02cec4fa9" providerId="ADAL" clId="{F59C7676-B2FE-4807-8247-D8346AF20E55}"/>
    <pc:docChg chg="undo redo custSel addSld delSld modSld sldOrd modMainMaster addSection delSection modSection">
      <pc:chgData name="Connor Xu" userId="a2fa5610-7f85-41f8-9630-afc02cec4fa9" providerId="ADAL" clId="{F59C7676-B2FE-4807-8247-D8346AF20E55}" dt="2024-09-11T04:30:19.292" v="11951" actId="20577"/>
      <pc:docMkLst>
        <pc:docMk/>
      </pc:docMkLst>
      <pc:sldChg chg="modSp mod">
        <pc:chgData name="Connor Xu" userId="a2fa5610-7f85-41f8-9630-afc02cec4fa9" providerId="ADAL" clId="{F59C7676-B2FE-4807-8247-D8346AF20E55}" dt="2024-09-06T04:03:08.347" v="25" actId="20577"/>
        <pc:sldMkLst>
          <pc:docMk/>
          <pc:sldMk cId="2083619045" sldId="2147471602"/>
        </pc:sldMkLst>
        <pc:spChg chg="mod">
          <ac:chgData name="Connor Xu" userId="a2fa5610-7f85-41f8-9630-afc02cec4fa9" providerId="ADAL" clId="{F59C7676-B2FE-4807-8247-D8346AF20E55}" dt="2024-09-06T04:03:08.347" v="25" actId="20577"/>
          <ac:spMkLst>
            <pc:docMk/>
            <pc:sldMk cId="2083619045" sldId="2147471602"/>
            <ac:spMk id="4" creationId="{74695963-93D3-CEED-3211-EA22860FE331}"/>
          </ac:spMkLst>
        </pc:spChg>
      </pc:sldChg>
      <pc:sldChg chg="del">
        <pc:chgData name="Connor Xu" userId="a2fa5610-7f85-41f8-9630-afc02cec4fa9" providerId="ADAL" clId="{F59C7676-B2FE-4807-8247-D8346AF20E55}" dt="2024-09-06T06:23:58.104" v="3791" actId="18676"/>
        <pc:sldMkLst>
          <pc:docMk/>
          <pc:sldMk cId="2259921476" sldId="2147471634"/>
        </pc:sldMkLst>
      </pc:sldChg>
      <pc:sldChg chg="del">
        <pc:chgData name="Connor Xu" userId="a2fa5610-7f85-41f8-9630-afc02cec4fa9" providerId="ADAL" clId="{F59C7676-B2FE-4807-8247-D8346AF20E55}" dt="2024-09-06T06:23:58.104" v="3791" actId="18676"/>
        <pc:sldMkLst>
          <pc:docMk/>
          <pc:sldMk cId="2887098628" sldId="2147471648"/>
        </pc:sldMkLst>
      </pc:sldChg>
      <pc:sldChg chg="del">
        <pc:chgData name="Connor Xu" userId="a2fa5610-7f85-41f8-9630-afc02cec4fa9" providerId="ADAL" clId="{F59C7676-B2FE-4807-8247-D8346AF20E55}" dt="2024-09-06T06:23:58.104" v="3791" actId="18676"/>
        <pc:sldMkLst>
          <pc:docMk/>
          <pc:sldMk cId="1673498922" sldId="2147471649"/>
        </pc:sldMkLst>
      </pc:sldChg>
      <pc:sldChg chg="modSp add mod">
        <pc:chgData name="Connor Xu" userId="a2fa5610-7f85-41f8-9630-afc02cec4fa9" providerId="ADAL" clId="{F59C7676-B2FE-4807-8247-D8346AF20E55}" dt="2024-09-09T02:18:39.515" v="6114" actId="20577"/>
        <pc:sldMkLst>
          <pc:docMk/>
          <pc:sldMk cId="861167672" sldId="2147471655"/>
        </pc:sldMkLst>
        <pc:spChg chg="mod">
          <ac:chgData name="Connor Xu" userId="a2fa5610-7f85-41f8-9630-afc02cec4fa9" providerId="ADAL" clId="{F59C7676-B2FE-4807-8247-D8346AF20E55}" dt="2024-09-09T02:18:39.515" v="6114" actId="20577"/>
          <ac:spMkLst>
            <pc:docMk/>
            <pc:sldMk cId="861167672" sldId="2147471655"/>
            <ac:spMk id="42" creationId="{6D5C1E1D-534E-2245-F472-2FB55FAC8883}"/>
          </ac:spMkLst>
        </pc:spChg>
      </pc:sldChg>
      <pc:sldChg chg="addSp delSp modSp add mod">
        <pc:chgData name="Connor Xu" userId="a2fa5610-7f85-41f8-9630-afc02cec4fa9" providerId="ADAL" clId="{F59C7676-B2FE-4807-8247-D8346AF20E55}" dt="2024-09-11T00:54:41.513" v="7065"/>
        <pc:sldMkLst>
          <pc:docMk/>
          <pc:sldMk cId="3274022134" sldId="2147471656"/>
        </pc:sldMkLst>
        <pc:spChg chg="mod">
          <ac:chgData name="Connor Xu" userId="a2fa5610-7f85-41f8-9630-afc02cec4fa9" providerId="ADAL" clId="{F59C7676-B2FE-4807-8247-D8346AF20E55}" dt="2024-09-11T00:54:41.507" v="7063" actId="20577"/>
          <ac:spMkLst>
            <pc:docMk/>
            <pc:sldMk cId="3274022134" sldId="2147471656"/>
            <ac:spMk id="3" creationId="{70A675F7-CAF4-83EC-53BD-56B259073B05}"/>
          </ac:spMkLst>
        </pc:spChg>
        <pc:spChg chg="mod">
          <ac:chgData name="Connor Xu" userId="a2fa5610-7f85-41f8-9630-afc02cec4fa9" providerId="ADAL" clId="{F59C7676-B2FE-4807-8247-D8346AF20E55}" dt="2024-09-09T02:19:06.459" v="6122" actId="20577"/>
          <ac:spMkLst>
            <pc:docMk/>
            <pc:sldMk cId="3274022134" sldId="2147471656"/>
            <ac:spMk id="6" creationId="{E1296918-AD6D-C9E2-9E46-991182C85F7C}"/>
          </ac:spMkLst>
        </pc:spChg>
        <pc:spChg chg="add del mod modVis">
          <ac:chgData name="Connor Xu" userId="a2fa5610-7f85-41f8-9630-afc02cec4fa9" providerId="ADAL" clId="{F59C7676-B2FE-4807-8247-D8346AF20E55}" dt="2024-09-11T00:54:41.492" v="7060" actId="962"/>
          <ac:spMkLst>
            <pc:docMk/>
            <pc:sldMk cId="3274022134" sldId="2147471656"/>
            <ac:spMk id="11" creationId="{A0F10751-4C39-E800-3FC8-7D4541A1E904}"/>
          </ac:spMkLst>
        </pc:spChg>
        <pc:spChg chg="mod">
          <ac:chgData name="Connor Xu" userId="a2fa5610-7f85-41f8-9630-afc02cec4fa9" providerId="ADAL" clId="{F59C7676-B2FE-4807-8247-D8346AF20E55}" dt="2024-09-09T02:23:04.165" v="6132" actId="20577"/>
          <ac:spMkLst>
            <pc:docMk/>
            <pc:sldMk cId="3274022134" sldId="2147471656"/>
            <ac:spMk id="27" creationId="{F6F1DC71-5700-BE1F-240E-8AD3A4B17FDB}"/>
          </ac:spMkLst>
        </pc:spChg>
        <pc:spChg chg="del">
          <ac:chgData name="Connor Xu" userId="a2fa5610-7f85-41f8-9630-afc02cec4fa9" providerId="ADAL" clId="{F59C7676-B2FE-4807-8247-D8346AF20E55}" dt="2024-09-09T02:22:57.030" v="6129" actId="478"/>
          <ac:spMkLst>
            <pc:docMk/>
            <pc:sldMk cId="3274022134" sldId="2147471656"/>
            <ac:spMk id="28" creationId="{DA1058AE-7E31-293C-98DF-7476322998F0}"/>
          </ac:spMkLst>
        </pc:spChg>
        <pc:spChg chg="del">
          <ac:chgData name="Connor Xu" userId="a2fa5610-7f85-41f8-9630-afc02cec4fa9" providerId="ADAL" clId="{F59C7676-B2FE-4807-8247-D8346AF20E55}" dt="2024-09-09T02:22:17.381" v="6123" actId="478"/>
          <ac:spMkLst>
            <pc:docMk/>
            <pc:sldMk cId="3274022134" sldId="2147471656"/>
            <ac:spMk id="61" creationId="{1FF6B810-6AD5-BB03-6DD4-EDA274DB54C0}"/>
          </ac:spMkLst>
        </pc:spChg>
        <pc:graphicFrameChg chg="mod">
          <ac:chgData name="Connor Xu" userId="a2fa5610-7f85-41f8-9630-afc02cec4fa9" providerId="ADAL" clId="{F59C7676-B2FE-4807-8247-D8346AF20E55}" dt="2024-09-11T00:54:41.513" v="7065"/>
          <ac:graphicFrameMkLst>
            <pc:docMk/>
            <pc:sldMk cId="3274022134" sldId="2147471656"/>
            <ac:graphicFrameMk id="5" creationId="{DCEE8F0D-271D-A3F4-ABA4-55804FF8C507}"/>
          </ac:graphicFrameMkLst>
        </pc:graphicFrameChg>
        <pc:picChg chg="del">
          <ac:chgData name="Connor Xu" userId="a2fa5610-7f85-41f8-9630-afc02cec4fa9" providerId="ADAL" clId="{F59C7676-B2FE-4807-8247-D8346AF20E55}" dt="2024-09-09T02:22:18.828" v="6124" actId="478"/>
          <ac:picMkLst>
            <pc:docMk/>
            <pc:sldMk cId="3274022134" sldId="2147471656"/>
            <ac:picMk id="62" creationId="{E268F032-2290-93A3-D084-780185791B13}"/>
          </ac:picMkLst>
        </pc:picChg>
      </pc:sldChg>
      <pc:sldChg chg="add del">
        <pc:chgData name="Connor Xu" userId="a2fa5610-7f85-41f8-9630-afc02cec4fa9" providerId="ADAL" clId="{F59C7676-B2FE-4807-8247-D8346AF20E55}" dt="2024-09-06T06:14:34.435" v="3274"/>
        <pc:sldMkLst>
          <pc:docMk/>
          <pc:sldMk cId="117569877" sldId="2147471677"/>
        </pc:sldMkLst>
      </pc:sldChg>
      <pc:sldChg chg="modSp add del mod">
        <pc:chgData name="Connor Xu" userId="a2fa5610-7f85-41f8-9630-afc02cec4fa9" providerId="ADAL" clId="{F59C7676-B2FE-4807-8247-D8346AF20E55}" dt="2024-09-06T05:17:24.355" v="1788"/>
        <pc:sldMkLst>
          <pc:docMk/>
          <pc:sldMk cId="3154054699" sldId="2147471678"/>
        </pc:sldMkLst>
        <pc:graphicFrameChg chg="mod modGraphic">
          <ac:chgData name="Connor Xu" userId="a2fa5610-7f85-41f8-9630-afc02cec4fa9" providerId="ADAL" clId="{F59C7676-B2FE-4807-8247-D8346AF20E55}" dt="2024-09-06T05:17:22.223" v="1787" actId="1076"/>
          <ac:graphicFrameMkLst>
            <pc:docMk/>
            <pc:sldMk cId="3154054699" sldId="2147471678"/>
            <ac:graphicFrameMk id="10" creationId="{3210BF0B-2BC8-C2DF-2AE9-0077185FBB53}"/>
          </ac:graphicFrameMkLst>
        </pc:graphicFrameChg>
      </pc:sldChg>
      <pc:sldChg chg="modSp mod">
        <pc:chgData name="Connor Xu" userId="a2fa5610-7f85-41f8-9630-afc02cec4fa9" providerId="ADAL" clId="{F59C7676-B2FE-4807-8247-D8346AF20E55}" dt="2024-09-06T04:47:58.085" v="99" actId="20577"/>
        <pc:sldMkLst>
          <pc:docMk/>
          <pc:sldMk cId="2109793814" sldId="2147471712"/>
        </pc:sldMkLst>
        <pc:spChg chg="mod">
          <ac:chgData name="Connor Xu" userId="a2fa5610-7f85-41f8-9630-afc02cec4fa9" providerId="ADAL" clId="{F59C7676-B2FE-4807-8247-D8346AF20E55}" dt="2024-09-06T04:47:58.085" v="99" actId="20577"/>
          <ac:spMkLst>
            <pc:docMk/>
            <pc:sldMk cId="2109793814" sldId="2147471712"/>
            <ac:spMk id="2" creationId="{3C42A615-E19E-F1ED-CA05-77A2773C1430}"/>
          </ac:spMkLst>
        </pc:spChg>
      </pc:sldChg>
      <pc:sldChg chg="del">
        <pc:chgData name="Connor Xu" userId="a2fa5610-7f85-41f8-9630-afc02cec4fa9" providerId="ADAL" clId="{F59C7676-B2FE-4807-8247-D8346AF20E55}" dt="2024-09-06T06:23:58.104" v="3791" actId="18676"/>
        <pc:sldMkLst>
          <pc:docMk/>
          <pc:sldMk cId="3260927673" sldId="2147471715"/>
        </pc:sldMkLst>
      </pc:sldChg>
      <pc:sldChg chg="del">
        <pc:chgData name="Connor Xu" userId="a2fa5610-7f85-41f8-9630-afc02cec4fa9" providerId="ADAL" clId="{F59C7676-B2FE-4807-8247-D8346AF20E55}" dt="2024-09-06T06:23:58.104" v="3791" actId="18676"/>
        <pc:sldMkLst>
          <pc:docMk/>
          <pc:sldMk cId="1764304587" sldId="2147471716"/>
        </pc:sldMkLst>
      </pc:sldChg>
      <pc:sldChg chg="del">
        <pc:chgData name="Connor Xu" userId="a2fa5610-7f85-41f8-9630-afc02cec4fa9" providerId="ADAL" clId="{F59C7676-B2FE-4807-8247-D8346AF20E55}" dt="2024-09-06T06:23:58.104" v="3791" actId="18676"/>
        <pc:sldMkLst>
          <pc:docMk/>
          <pc:sldMk cId="1842373759" sldId="2147471718"/>
        </pc:sldMkLst>
      </pc:sldChg>
      <pc:sldChg chg="add del">
        <pc:chgData name="Connor Xu" userId="a2fa5610-7f85-41f8-9630-afc02cec4fa9" providerId="ADAL" clId="{F59C7676-B2FE-4807-8247-D8346AF20E55}" dt="2024-09-06T04:10:41.521" v="30" actId="47"/>
        <pc:sldMkLst>
          <pc:docMk/>
          <pc:sldMk cId="740422028" sldId="2147471719"/>
        </pc:sldMkLst>
      </pc:sldChg>
      <pc:sldChg chg="modSp add mod">
        <pc:chgData name="Connor Xu" userId="a2fa5610-7f85-41f8-9630-afc02cec4fa9" providerId="ADAL" clId="{F59C7676-B2FE-4807-8247-D8346AF20E55}" dt="2024-09-11T04:27:29.121" v="11925" actId="20577"/>
        <pc:sldMkLst>
          <pc:docMk/>
          <pc:sldMk cId="3575811757" sldId="2147471719"/>
        </pc:sldMkLst>
        <pc:spChg chg="mod">
          <ac:chgData name="Connor Xu" userId="a2fa5610-7f85-41f8-9630-afc02cec4fa9" providerId="ADAL" clId="{F59C7676-B2FE-4807-8247-D8346AF20E55}" dt="2024-09-06T04:48:35.367" v="161" actId="20577"/>
          <ac:spMkLst>
            <pc:docMk/>
            <pc:sldMk cId="3575811757" sldId="2147471719"/>
            <ac:spMk id="3" creationId="{80CE8119-45A9-B497-B743-3798888405B8}"/>
          </ac:spMkLst>
        </pc:spChg>
        <pc:spChg chg="mod">
          <ac:chgData name="Connor Xu" userId="a2fa5610-7f85-41f8-9630-afc02cec4fa9" providerId="ADAL" clId="{F59C7676-B2FE-4807-8247-D8346AF20E55}" dt="2024-09-11T04:27:29.121" v="11925" actId="20577"/>
          <ac:spMkLst>
            <pc:docMk/>
            <pc:sldMk cId="3575811757" sldId="2147471719"/>
            <ac:spMk id="4" creationId="{5BE56102-969D-60C5-E08D-D27432E3F129}"/>
          </ac:spMkLst>
        </pc:spChg>
        <pc:spChg chg="mod">
          <ac:chgData name="Connor Xu" userId="a2fa5610-7f85-41f8-9630-afc02cec4fa9" providerId="ADAL" clId="{F59C7676-B2FE-4807-8247-D8346AF20E55}" dt="2024-09-11T00:54:10.541" v="6953" actId="13926"/>
          <ac:spMkLst>
            <pc:docMk/>
            <pc:sldMk cId="3575811757" sldId="2147471719"/>
            <ac:spMk id="5" creationId="{414FB662-191A-6AE4-B396-41A4E291EEB6}"/>
          </ac:spMkLst>
        </pc:spChg>
        <pc:spChg chg="mod">
          <ac:chgData name="Connor Xu" userId="a2fa5610-7f85-41f8-9630-afc02cec4fa9" providerId="ADAL" clId="{F59C7676-B2FE-4807-8247-D8346AF20E55}" dt="2024-09-09T02:17:48.293" v="6106" actId="20577"/>
          <ac:spMkLst>
            <pc:docMk/>
            <pc:sldMk cId="3575811757" sldId="2147471719"/>
            <ac:spMk id="21" creationId="{FB2D641F-7EE6-BED9-C5FC-DF6B9F5C3E5D}"/>
          </ac:spMkLst>
        </pc:spChg>
        <pc:spChg chg="mod">
          <ac:chgData name="Connor Xu" userId="a2fa5610-7f85-41f8-9630-afc02cec4fa9" providerId="ADAL" clId="{F59C7676-B2FE-4807-8247-D8346AF20E55}" dt="2024-09-11T04:24:17.822" v="11629" actId="20577"/>
          <ac:spMkLst>
            <pc:docMk/>
            <pc:sldMk cId="3575811757" sldId="2147471719"/>
            <ac:spMk id="24" creationId="{A68786C5-0F08-67B4-EF2E-B2FD83DED675}"/>
          </ac:spMkLst>
        </pc:spChg>
        <pc:grpChg chg="mod">
          <ac:chgData name="Connor Xu" userId="a2fa5610-7f85-41f8-9630-afc02cec4fa9" providerId="ADAL" clId="{F59C7676-B2FE-4807-8247-D8346AF20E55}" dt="2024-09-09T00:56:56.599" v="6089" actId="1036"/>
          <ac:grpSpMkLst>
            <pc:docMk/>
            <pc:sldMk cId="3575811757" sldId="2147471719"/>
            <ac:grpSpMk id="2" creationId="{783E8177-4E17-C2F0-B7A6-5F4AAF0C5FFD}"/>
          </ac:grpSpMkLst>
        </pc:grpChg>
      </pc:sldChg>
      <pc:sldChg chg="addSp delSp modSp new mod">
        <pc:chgData name="Connor Xu" userId="a2fa5610-7f85-41f8-9630-afc02cec4fa9" providerId="ADAL" clId="{F59C7676-B2FE-4807-8247-D8346AF20E55}" dt="2024-09-11T00:58:18.927" v="7952"/>
        <pc:sldMkLst>
          <pc:docMk/>
          <pc:sldMk cId="2127873239" sldId="2147471720"/>
        </pc:sldMkLst>
        <pc:spChg chg="mod">
          <ac:chgData name="Connor Xu" userId="a2fa5610-7f85-41f8-9630-afc02cec4fa9" providerId="ADAL" clId="{F59C7676-B2FE-4807-8247-D8346AF20E55}" dt="2024-09-11T00:58:12.987" v="7863" actId="20577"/>
          <ac:spMkLst>
            <pc:docMk/>
            <pc:sldMk cId="2127873239" sldId="2147471720"/>
            <ac:spMk id="2" creationId="{B068FAC4-4E35-4912-1E95-4C38FB047EE7}"/>
          </ac:spMkLst>
        </pc:spChg>
        <pc:spChg chg="mod">
          <ac:chgData name="Connor Xu" userId="a2fa5610-7f85-41f8-9630-afc02cec4fa9" providerId="ADAL" clId="{F59C7676-B2FE-4807-8247-D8346AF20E55}" dt="2024-09-11T00:58:18.899" v="7929" actId="948"/>
          <ac:spMkLst>
            <pc:docMk/>
            <pc:sldMk cId="2127873239" sldId="2147471720"/>
            <ac:spMk id="3" creationId="{0B0E0EEE-AAF7-27D9-5453-D9B85663617E}"/>
          </ac:spMkLst>
        </pc:spChg>
        <pc:spChg chg="add mod">
          <ac:chgData name="Connor Xu" userId="a2fa5610-7f85-41f8-9630-afc02cec4fa9" providerId="ADAL" clId="{F59C7676-B2FE-4807-8247-D8346AF20E55}" dt="2024-09-06T04:55:22.506" v="297" actId="1076"/>
          <ac:spMkLst>
            <pc:docMk/>
            <pc:sldMk cId="2127873239" sldId="2147471720"/>
            <ac:spMk id="4" creationId="{A34AFD25-F073-2AA9-1F8C-5B643660620C}"/>
          </ac:spMkLst>
        </pc:spChg>
        <pc:spChg chg="add mod">
          <ac:chgData name="Connor Xu" userId="a2fa5610-7f85-41f8-9630-afc02cec4fa9" providerId="ADAL" clId="{F59C7676-B2FE-4807-8247-D8346AF20E55}" dt="2024-09-06T04:55:22.506" v="297" actId="1076"/>
          <ac:spMkLst>
            <pc:docMk/>
            <pc:sldMk cId="2127873239" sldId="2147471720"/>
            <ac:spMk id="5" creationId="{1A4245EE-7550-1348-42BA-0597B7B28C02}"/>
          </ac:spMkLst>
        </pc:spChg>
        <pc:spChg chg="add mod">
          <ac:chgData name="Connor Xu" userId="a2fa5610-7f85-41f8-9630-afc02cec4fa9" providerId="ADAL" clId="{F59C7676-B2FE-4807-8247-D8346AF20E55}" dt="2024-09-06T04:59:38.480" v="448" actId="552"/>
          <ac:spMkLst>
            <pc:docMk/>
            <pc:sldMk cId="2127873239" sldId="2147471720"/>
            <ac:spMk id="6" creationId="{A60A48B0-B84D-2E6C-9AB3-1E55A4EDF48B}"/>
          </ac:spMkLst>
        </pc:spChg>
        <pc:spChg chg="add mod">
          <ac:chgData name="Connor Xu" userId="a2fa5610-7f85-41f8-9630-afc02cec4fa9" providerId="ADAL" clId="{F59C7676-B2FE-4807-8247-D8346AF20E55}" dt="2024-09-06T04:55:22.506" v="297" actId="1076"/>
          <ac:spMkLst>
            <pc:docMk/>
            <pc:sldMk cId="2127873239" sldId="2147471720"/>
            <ac:spMk id="7" creationId="{289B9D4B-E52F-879F-C7BE-8B528A604AFB}"/>
          </ac:spMkLst>
        </pc:spChg>
        <pc:spChg chg="add mod">
          <ac:chgData name="Connor Xu" userId="a2fa5610-7f85-41f8-9630-afc02cec4fa9" providerId="ADAL" clId="{F59C7676-B2FE-4807-8247-D8346AF20E55}" dt="2024-09-06T04:57:12.727" v="438" actId="14100"/>
          <ac:spMkLst>
            <pc:docMk/>
            <pc:sldMk cId="2127873239" sldId="2147471720"/>
            <ac:spMk id="8" creationId="{891E3423-7407-A5EA-5B55-2E088945E082}"/>
          </ac:spMkLst>
        </pc:spChg>
        <pc:spChg chg="mod topLvl">
          <ac:chgData name="Connor Xu" userId="a2fa5610-7f85-41f8-9630-afc02cec4fa9" providerId="ADAL" clId="{F59C7676-B2FE-4807-8247-D8346AF20E55}" dt="2024-09-06T04:59:42.717" v="449" actId="14100"/>
          <ac:spMkLst>
            <pc:docMk/>
            <pc:sldMk cId="2127873239" sldId="2147471720"/>
            <ac:spMk id="10" creationId="{1A404026-FCEB-0624-38F6-66FC81624D7D}"/>
          </ac:spMkLst>
        </pc:spChg>
        <pc:spChg chg="add del mod topLvl">
          <ac:chgData name="Connor Xu" userId="a2fa5610-7f85-41f8-9630-afc02cec4fa9" providerId="ADAL" clId="{F59C7676-B2FE-4807-8247-D8346AF20E55}" dt="2024-09-06T05:00:17.486" v="470" actId="1076"/>
          <ac:spMkLst>
            <pc:docMk/>
            <pc:sldMk cId="2127873239" sldId="2147471720"/>
            <ac:spMk id="11" creationId="{4F1FA879-9777-8899-FA42-1216326B54E2}"/>
          </ac:spMkLst>
        </pc:spChg>
        <pc:spChg chg="mod topLvl">
          <ac:chgData name="Connor Xu" userId="a2fa5610-7f85-41f8-9630-afc02cec4fa9" providerId="ADAL" clId="{F59C7676-B2FE-4807-8247-D8346AF20E55}" dt="2024-09-06T05:10:45.013" v="930" actId="113"/>
          <ac:spMkLst>
            <pc:docMk/>
            <pc:sldMk cId="2127873239" sldId="2147471720"/>
            <ac:spMk id="12" creationId="{1C34904A-6761-C9C6-BE0C-22F07C4C023E}"/>
          </ac:spMkLst>
        </pc:spChg>
        <pc:spChg chg="mod topLvl">
          <ac:chgData name="Connor Xu" userId="a2fa5610-7f85-41f8-9630-afc02cec4fa9" providerId="ADAL" clId="{F59C7676-B2FE-4807-8247-D8346AF20E55}" dt="2024-09-06T05:10:45.013" v="930" actId="113"/>
          <ac:spMkLst>
            <pc:docMk/>
            <pc:sldMk cId="2127873239" sldId="2147471720"/>
            <ac:spMk id="13" creationId="{543E921C-3B05-4BBC-62DA-45552963EB92}"/>
          </ac:spMkLst>
        </pc:spChg>
        <pc:spChg chg="mod topLvl">
          <ac:chgData name="Connor Xu" userId="a2fa5610-7f85-41f8-9630-afc02cec4fa9" providerId="ADAL" clId="{F59C7676-B2FE-4807-8247-D8346AF20E55}" dt="2024-09-06T05:10:45.013" v="930" actId="113"/>
          <ac:spMkLst>
            <pc:docMk/>
            <pc:sldMk cId="2127873239" sldId="2147471720"/>
            <ac:spMk id="14" creationId="{9DCFF890-C3A5-7D9A-A4B7-BB2600EB0843}"/>
          </ac:spMkLst>
        </pc:spChg>
        <pc:spChg chg="mod topLvl">
          <ac:chgData name="Connor Xu" userId="a2fa5610-7f85-41f8-9630-afc02cec4fa9" providerId="ADAL" clId="{F59C7676-B2FE-4807-8247-D8346AF20E55}" dt="2024-09-06T05:10:45.013" v="930" actId="113"/>
          <ac:spMkLst>
            <pc:docMk/>
            <pc:sldMk cId="2127873239" sldId="2147471720"/>
            <ac:spMk id="15" creationId="{EBD34830-E905-2652-84D9-F5EFAF47C04C}"/>
          </ac:spMkLst>
        </pc:spChg>
        <pc:spChg chg="mod topLvl">
          <ac:chgData name="Connor Xu" userId="a2fa5610-7f85-41f8-9630-afc02cec4fa9" providerId="ADAL" clId="{F59C7676-B2FE-4807-8247-D8346AF20E55}" dt="2024-09-06T05:10:45.013" v="930" actId="113"/>
          <ac:spMkLst>
            <pc:docMk/>
            <pc:sldMk cId="2127873239" sldId="2147471720"/>
            <ac:spMk id="16" creationId="{637A535A-7192-076B-EE41-F4808579E6D8}"/>
          </ac:spMkLst>
        </pc:spChg>
        <pc:spChg chg="mod topLvl">
          <ac:chgData name="Connor Xu" userId="a2fa5610-7f85-41f8-9630-afc02cec4fa9" providerId="ADAL" clId="{F59C7676-B2FE-4807-8247-D8346AF20E55}" dt="2024-09-06T05:10:45.013" v="930" actId="113"/>
          <ac:spMkLst>
            <pc:docMk/>
            <pc:sldMk cId="2127873239" sldId="2147471720"/>
            <ac:spMk id="17" creationId="{8DA5D552-A05B-0AF9-5565-0B7BE585C74F}"/>
          </ac:spMkLst>
        </pc:spChg>
        <pc:spChg chg="mod topLvl">
          <ac:chgData name="Connor Xu" userId="a2fa5610-7f85-41f8-9630-afc02cec4fa9" providerId="ADAL" clId="{F59C7676-B2FE-4807-8247-D8346AF20E55}" dt="2024-09-06T05:10:34.258" v="928" actId="207"/>
          <ac:spMkLst>
            <pc:docMk/>
            <pc:sldMk cId="2127873239" sldId="2147471720"/>
            <ac:spMk id="18" creationId="{11BB8887-83BC-D997-919A-53AA1AA1CF11}"/>
          </ac:spMkLst>
        </pc:spChg>
        <pc:spChg chg="mod topLvl">
          <ac:chgData name="Connor Xu" userId="a2fa5610-7f85-41f8-9630-afc02cec4fa9" providerId="ADAL" clId="{F59C7676-B2FE-4807-8247-D8346AF20E55}" dt="2024-09-06T05:00:28.033" v="474" actId="408"/>
          <ac:spMkLst>
            <pc:docMk/>
            <pc:sldMk cId="2127873239" sldId="2147471720"/>
            <ac:spMk id="19" creationId="{A245BF91-9D80-7224-BE10-7E9FB570A379}"/>
          </ac:spMkLst>
        </pc:spChg>
        <pc:spChg chg="mod topLvl">
          <ac:chgData name="Connor Xu" userId="a2fa5610-7f85-41f8-9630-afc02cec4fa9" providerId="ADAL" clId="{F59C7676-B2FE-4807-8247-D8346AF20E55}" dt="2024-09-06T05:00:32.438" v="475" actId="408"/>
          <ac:spMkLst>
            <pc:docMk/>
            <pc:sldMk cId="2127873239" sldId="2147471720"/>
            <ac:spMk id="20" creationId="{D9142674-0911-6D92-9C50-856720D778E3}"/>
          </ac:spMkLst>
        </pc:spChg>
        <pc:spChg chg="add del mod modVis">
          <ac:chgData name="Connor Xu" userId="a2fa5610-7f85-41f8-9630-afc02cec4fa9" providerId="ADAL" clId="{F59C7676-B2FE-4807-8247-D8346AF20E55}" dt="2024-09-11T00:58:11.551" v="7809" actId="478"/>
          <ac:spMkLst>
            <pc:docMk/>
            <pc:sldMk cId="2127873239" sldId="2147471720"/>
            <ac:spMk id="22" creationId="{93F9EF84-192A-E5CF-A1DF-FB7E3C8F9486}"/>
          </ac:spMkLst>
        </pc:spChg>
        <pc:spChg chg="add del mod modVis">
          <ac:chgData name="Connor Xu" userId="a2fa5610-7f85-41f8-9630-afc02cec4fa9" providerId="ADAL" clId="{F59C7676-B2FE-4807-8247-D8346AF20E55}" dt="2024-09-11T00:58:11.774" v="7835" actId="478"/>
          <ac:spMkLst>
            <pc:docMk/>
            <pc:sldMk cId="2127873239" sldId="2147471720"/>
            <ac:spMk id="24" creationId="{F94A6F40-E234-BF30-45E2-3D19311734C7}"/>
          </ac:spMkLst>
        </pc:spChg>
        <pc:spChg chg="add del mod modVis">
          <ac:chgData name="Connor Xu" userId="a2fa5610-7f85-41f8-9630-afc02cec4fa9" providerId="ADAL" clId="{F59C7676-B2FE-4807-8247-D8346AF20E55}" dt="2024-09-11T00:58:12.568" v="7856" actId="478"/>
          <ac:spMkLst>
            <pc:docMk/>
            <pc:sldMk cId="2127873239" sldId="2147471720"/>
            <ac:spMk id="25" creationId="{BD270C39-6521-AE1A-395D-CDFF9B77A55F}"/>
          </ac:spMkLst>
        </pc:spChg>
        <pc:spChg chg="add del mod modVis">
          <ac:chgData name="Connor Xu" userId="a2fa5610-7f85-41f8-9630-afc02cec4fa9" providerId="ADAL" clId="{F59C7676-B2FE-4807-8247-D8346AF20E55}" dt="2024-09-11T00:58:13.131" v="7880" actId="478"/>
          <ac:spMkLst>
            <pc:docMk/>
            <pc:sldMk cId="2127873239" sldId="2147471720"/>
            <ac:spMk id="26" creationId="{12E94B80-2E71-E54E-EE47-480C820F8DE2}"/>
          </ac:spMkLst>
        </pc:spChg>
        <pc:spChg chg="add del mod modVis">
          <ac:chgData name="Connor Xu" userId="a2fa5610-7f85-41f8-9630-afc02cec4fa9" providerId="ADAL" clId="{F59C7676-B2FE-4807-8247-D8346AF20E55}" dt="2024-09-11T00:58:13.269" v="7901" actId="478"/>
          <ac:spMkLst>
            <pc:docMk/>
            <pc:sldMk cId="2127873239" sldId="2147471720"/>
            <ac:spMk id="27" creationId="{7697FDBC-8779-8CBF-6337-2FC108954500}"/>
          </ac:spMkLst>
        </pc:spChg>
        <pc:spChg chg="add del mod modVis">
          <ac:chgData name="Connor Xu" userId="a2fa5610-7f85-41f8-9630-afc02cec4fa9" providerId="ADAL" clId="{F59C7676-B2FE-4807-8247-D8346AF20E55}" dt="2024-09-11T00:57:56.908" v="7628" actId="962"/>
          <ac:spMkLst>
            <pc:docMk/>
            <pc:sldMk cId="2127873239" sldId="2147471720"/>
            <ac:spMk id="28" creationId="{FEDD3B04-5D0C-361E-0EAD-5768C0F0CD3C}"/>
          </ac:spMkLst>
        </pc:spChg>
        <pc:spChg chg="add del mod modVis">
          <ac:chgData name="Connor Xu" userId="a2fa5610-7f85-41f8-9630-afc02cec4fa9" providerId="ADAL" clId="{F59C7676-B2FE-4807-8247-D8346AF20E55}" dt="2024-09-11T00:58:13.412" v="7924" actId="478"/>
          <ac:spMkLst>
            <pc:docMk/>
            <pc:sldMk cId="2127873239" sldId="2147471720"/>
            <ac:spMk id="29" creationId="{B380F6E9-390D-C1BB-FC9F-21523F69A8DF}"/>
          </ac:spMkLst>
        </pc:spChg>
        <pc:spChg chg="add del mod modVis">
          <ac:chgData name="Connor Xu" userId="a2fa5610-7f85-41f8-9630-afc02cec4fa9" providerId="ADAL" clId="{F59C7676-B2FE-4807-8247-D8346AF20E55}" dt="2024-09-11T00:58:18.920" v="7950"/>
          <ac:spMkLst>
            <pc:docMk/>
            <pc:sldMk cId="2127873239" sldId="2147471720"/>
            <ac:spMk id="30" creationId="{B958B3C4-8F60-9D44-18F7-AD89B7112261}"/>
          </ac:spMkLst>
        </pc:spChg>
        <pc:grpChg chg="add del mod">
          <ac:chgData name="Connor Xu" userId="a2fa5610-7f85-41f8-9630-afc02cec4fa9" providerId="ADAL" clId="{F59C7676-B2FE-4807-8247-D8346AF20E55}" dt="2024-09-06T04:57:07.453" v="437" actId="165"/>
          <ac:grpSpMkLst>
            <pc:docMk/>
            <pc:sldMk cId="2127873239" sldId="2147471720"/>
            <ac:grpSpMk id="9" creationId="{B1641413-1D40-58A1-BE54-D1048E0B96F2}"/>
          </ac:grpSpMkLst>
        </pc:grpChg>
        <pc:graphicFrameChg chg="add mod ord modVis">
          <ac:chgData name="Connor Xu" userId="a2fa5610-7f85-41f8-9630-afc02cec4fa9" providerId="ADAL" clId="{F59C7676-B2FE-4807-8247-D8346AF20E55}" dt="2024-09-11T00:58:18.927" v="7952"/>
          <ac:graphicFrameMkLst>
            <pc:docMk/>
            <pc:sldMk cId="2127873239" sldId="2147471720"/>
            <ac:graphicFrameMk id="23" creationId="{4FD1D65F-D05F-3BC8-9A41-5A8BEE7E1E90}"/>
          </ac:graphicFrameMkLst>
        </pc:graphicFrameChg>
      </pc:sldChg>
      <pc:sldChg chg="addSp delSp modSp add mod">
        <pc:chgData name="Connor Xu" userId="a2fa5610-7f85-41f8-9630-afc02cec4fa9" providerId="ADAL" clId="{F59C7676-B2FE-4807-8247-D8346AF20E55}" dt="2024-09-11T01:05:50.174" v="8680" actId="20577"/>
        <pc:sldMkLst>
          <pc:docMk/>
          <pc:sldMk cId="4165101680" sldId="2147471721"/>
        </pc:sldMkLst>
        <pc:spChg chg="mod">
          <ac:chgData name="Connor Xu" userId="a2fa5610-7f85-41f8-9630-afc02cec4fa9" providerId="ADAL" clId="{F59C7676-B2FE-4807-8247-D8346AF20E55}" dt="2024-09-11T01:05:50.174" v="8680" actId="20577"/>
          <ac:spMkLst>
            <pc:docMk/>
            <pc:sldMk cId="4165101680" sldId="2147471721"/>
            <ac:spMk id="2" creationId="{B068FAC4-4E35-4912-1E95-4C38FB047EE7}"/>
          </ac:spMkLst>
        </pc:spChg>
        <pc:spChg chg="mod">
          <ac:chgData name="Connor Xu" userId="a2fa5610-7f85-41f8-9630-afc02cec4fa9" providerId="ADAL" clId="{F59C7676-B2FE-4807-8247-D8346AF20E55}" dt="2024-09-11T00:58:54.677" v="8201" actId="948"/>
          <ac:spMkLst>
            <pc:docMk/>
            <pc:sldMk cId="4165101680" sldId="2147471721"/>
            <ac:spMk id="3" creationId="{0B0E0EEE-AAF7-27D9-5453-D9B85663617E}"/>
          </ac:spMkLst>
        </pc:spChg>
        <pc:spChg chg="add del mod modVis">
          <ac:chgData name="Connor Xu" userId="a2fa5610-7f85-41f8-9630-afc02cec4fa9" providerId="ADAL" clId="{F59C7676-B2FE-4807-8247-D8346AF20E55}" dt="2024-09-11T00:58:32.825" v="7990"/>
          <ac:spMkLst>
            <pc:docMk/>
            <pc:sldMk cId="4165101680" sldId="2147471721"/>
            <ac:spMk id="4" creationId="{58B49721-51E5-62A6-B42C-CEC42B026A72}"/>
          </ac:spMkLst>
        </pc:spChg>
        <pc:spChg chg="add mod">
          <ac:chgData name="Connor Xu" userId="a2fa5610-7f85-41f8-9630-afc02cec4fa9" providerId="ADAL" clId="{F59C7676-B2FE-4807-8247-D8346AF20E55}" dt="2024-09-06T04:51:09.328" v="253"/>
          <ac:spMkLst>
            <pc:docMk/>
            <pc:sldMk cId="4165101680" sldId="2147471721"/>
            <ac:spMk id="4" creationId="{74C5A650-C78C-D495-E43C-39120F7EC000}"/>
          </ac:spMkLst>
        </pc:spChg>
        <pc:spChg chg="mod">
          <ac:chgData name="Connor Xu" userId="a2fa5610-7f85-41f8-9630-afc02cec4fa9" providerId="ADAL" clId="{F59C7676-B2FE-4807-8247-D8346AF20E55}" dt="2024-09-06T04:56:49.065" v="431" actId="207"/>
          <ac:spMkLst>
            <pc:docMk/>
            <pc:sldMk cId="4165101680" sldId="2147471721"/>
            <ac:spMk id="6" creationId="{1A404026-FCEB-0624-38F6-66FC81624D7D}"/>
          </ac:spMkLst>
        </pc:spChg>
        <pc:spChg chg="add del mod modVis">
          <ac:chgData name="Connor Xu" userId="a2fa5610-7f85-41f8-9630-afc02cec4fa9" providerId="ADAL" clId="{F59C7676-B2FE-4807-8247-D8346AF20E55}" dt="2024-09-11T00:58:44.323" v="8050"/>
          <ac:spMkLst>
            <pc:docMk/>
            <pc:sldMk cId="4165101680" sldId="2147471721"/>
            <ac:spMk id="6" creationId="{2B491DE3-050D-D4CC-B905-0EA08FDBD3F6}"/>
          </ac:spMkLst>
        </pc:spChg>
        <pc:spChg chg="add del mod modVis">
          <ac:chgData name="Connor Xu" userId="a2fa5610-7f85-41f8-9630-afc02cec4fa9" providerId="ADAL" clId="{F59C7676-B2FE-4807-8247-D8346AF20E55}" dt="2024-09-11T00:58:45.746" v="8096"/>
          <ac:spMkLst>
            <pc:docMk/>
            <pc:sldMk cId="4165101680" sldId="2147471721"/>
            <ac:spMk id="7" creationId="{335401B7-5103-3316-5B73-7FAE0185D2BD}"/>
          </ac:spMkLst>
        </pc:spChg>
        <pc:spChg chg="mod">
          <ac:chgData name="Connor Xu" userId="a2fa5610-7f85-41f8-9630-afc02cec4fa9" providerId="ADAL" clId="{F59C7676-B2FE-4807-8247-D8346AF20E55}" dt="2024-09-06T04:51:15.722" v="254"/>
          <ac:spMkLst>
            <pc:docMk/>
            <pc:sldMk cId="4165101680" sldId="2147471721"/>
            <ac:spMk id="7" creationId="{4F1FA879-9777-8899-FA42-1216326B54E2}"/>
          </ac:spMkLst>
        </pc:spChg>
        <pc:spChg chg="mod">
          <ac:chgData name="Connor Xu" userId="a2fa5610-7f85-41f8-9630-afc02cec4fa9" providerId="ADAL" clId="{F59C7676-B2FE-4807-8247-D8346AF20E55}" dt="2024-09-06T04:51:15.722" v="254"/>
          <ac:spMkLst>
            <pc:docMk/>
            <pc:sldMk cId="4165101680" sldId="2147471721"/>
            <ac:spMk id="8" creationId="{1C34904A-6761-C9C6-BE0C-22F07C4C023E}"/>
          </ac:spMkLst>
        </pc:spChg>
        <pc:spChg chg="add del mod modVis">
          <ac:chgData name="Connor Xu" userId="a2fa5610-7f85-41f8-9630-afc02cec4fa9" providerId="ADAL" clId="{F59C7676-B2FE-4807-8247-D8346AF20E55}" dt="2024-09-11T00:58:46.342" v="8128"/>
          <ac:spMkLst>
            <pc:docMk/>
            <pc:sldMk cId="4165101680" sldId="2147471721"/>
            <ac:spMk id="8" creationId="{99D60736-820C-842B-EE82-2265E1E75C95}"/>
          </ac:spMkLst>
        </pc:spChg>
        <pc:spChg chg="add del mod modVis">
          <ac:chgData name="Connor Xu" userId="a2fa5610-7f85-41f8-9630-afc02cec4fa9" providerId="ADAL" clId="{F59C7676-B2FE-4807-8247-D8346AF20E55}" dt="2024-09-11T00:58:47.896" v="8165"/>
          <ac:spMkLst>
            <pc:docMk/>
            <pc:sldMk cId="4165101680" sldId="2147471721"/>
            <ac:spMk id="9" creationId="{11A1BB64-0DF1-7897-318F-0D3F99DEDFF0}"/>
          </ac:spMkLst>
        </pc:spChg>
        <pc:spChg chg="mod">
          <ac:chgData name="Connor Xu" userId="a2fa5610-7f85-41f8-9630-afc02cec4fa9" providerId="ADAL" clId="{F59C7676-B2FE-4807-8247-D8346AF20E55}" dt="2024-09-06T04:51:15.722" v="254"/>
          <ac:spMkLst>
            <pc:docMk/>
            <pc:sldMk cId="4165101680" sldId="2147471721"/>
            <ac:spMk id="9" creationId="{543E921C-3B05-4BBC-62DA-45552963EB92}"/>
          </ac:spMkLst>
        </pc:spChg>
        <pc:spChg chg="mod">
          <ac:chgData name="Connor Xu" userId="a2fa5610-7f85-41f8-9630-afc02cec4fa9" providerId="ADAL" clId="{F59C7676-B2FE-4807-8247-D8346AF20E55}" dt="2024-09-06T04:51:15.722" v="254"/>
          <ac:spMkLst>
            <pc:docMk/>
            <pc:sldMk cId="4165101680" sldId="2147471721"/>
            <ac:spMk id="10" creationId="{9DCFF890-C3A5-7D9A-A4B7-BB2600EB0843}"/>
          </ac:spMkLst>
        </pc:spChg>
        <pc:spChg chg="add del mod modVis">
          <ac:chgData name="Connor Xu" userId="a2fa5610-7f85-41f8-9630-afc02cec4fa9" providerId="ADAL" clId="{F59C7676-B2FE-4807-8247-D8346AF20E55}" dt="2024-09-11T00:58:51.743" v="8197"/>
          <ac:spMkLst>
            <pc:docMk/>
            <pc:sldMk cId="4165101680" sldId="2147471721"/>
            <ac:spMk id="10" creationId="{CDBAEBCB-D709-9131-10C7-BC84DDFE63DC}"/>
          </ac:spMkLst>
        </pc:spChg>
        <pc:spChg chg="mod">
          <ac:chgData name="Connor Xu" userId="a2fa5610-7f85-41f8-9630-afc02cec4fa9" providerId="ADAL" clId="{F59C7676-B2FE-4807-8247-D8346AF20E55}" dt="2024-09-06T04:51:15.722" v="254"/>
          <ac:spMkLst>
            <pc:docMk/>
            <pc:sldMk cId="4165101680" sldId="2147471721"/>
            <ac:spMk id="11" creationId="{EBD34830-E905-2652-84D9-F5EFAF47C04C}"/>
          </ac:spMkLst>
        </pc:spChg>
        <pc:spChg chg="add del mod modVis">
          <ac:chgData name="Connor Xu" userId="a2fa5610-7f85-41f8-9630-afc02cec4fa9" providerId="ADAL" clId="{F59C7676-B2FE-4807-8247-D8346AF20E55}" dt="2024-09-11T00:58:54.694" v="8228"/>
          <ac:spMkLst>
            <pc:docMk/>
            <pc:sldMk cId="4165101680" sldId="2147471721"/>
            <ac:spMk id="11" creationId="{ED7EA211-A60C-953C-03F3-951FEEC0A0D6}"/>
          </ac:spMkLst>
        </pc:spChg>
        <pc:spChg chg="mod">
          <ac:chgData name="Connor Xu" userId="a2fa5610-7f85-41f8-9630-afc02cec4fa9" providerId="ADAL" clId="{F59C7676-B2FE-4807-8247-D8346AF20E55}" dt="2024-09-06T04:51:15.722" v="254"/>
          <ac:spMkLst>
            <pc:docMk/>
            <pc:sldMk cId="4165101680" sldId="2147471721"/>
            <ac:spMk id="12" creationId="{637A535A-7192-076B-EE41-F4808579E6D8}"/>
          </ac:spMkLst>
        </pc:spChg>
        <pc:spChg chg="add mod">
          <ac:chgData name="Connor Xu" userId="a2fa5610-7f85-41f8-9630-afc02cec4fa9" providerId="ADAL" clId="{F59C7676-B2FE-4807-8247-D8346AF20E55}" dt="2024-09-11T01:05:19.756" v="8657" actId="20577"/>
          <ac:spMkLst>
            <pc:docMk/>
            <pc:sldMk cId="4165101680" sldId="2147471721"/>
            <ac:spMk id="12" creationId="{A8172285-F693-BFB8-2247-28184FC1C020}"/>
          </ac:spMkLst>
        </pc:spChg>
        <pc:spChg chg="mod">
          <ac:chgData name="Connor Xu" userId="a2fa5610-7f85-41f8-9630-afc02cec4fa9" providerId="ADAL" clId="{F59C7676-B2FE-4807-8247-D8346AF20E55}" dt="2024-09-06T04:51:15.722" v="254"/>
          <ac:spMkLst>
            <pc:docMk/>
            <pc:sldMk cId="4165101680" sldId="2147471721"/>
            <ac:spMk id="13" creationId="{8DA5D552-A05B-0AF9-5565-0B7BE585C74F}"/>
          </ac:spMkLst>
        </pc:spChg>
        <pc:spChg chg="mod">
          <ac:chgData name="Connor Xu" userId="a2fa5610-7f85-41f8-9630-afc02cec4fa9" providerId="ADAL" clId="{F59C7676-B2FE-4807-8247-D8346AF20E55}" dt="2024-09-06T04:51:15.722" v="254"/>
          <ac:spMkLst>
            <pc:docMk/>
            <pc:sldMk cId="4165101680" sldId="2147471721"/>
            <ac:spMk id="14" creationId="{11BB8887-83BC-D997-919A-53AA1AA1CF11}"/>
          </ac:spMkLst>
        </pc:spChg>
        <pc:spChg chg="mod">
          <ac:chgData name="Connor Xu" userId="a2fa5610-7f85-41f8-9630-afc02cec4fa9" providerId="ADAL" clId="{F59C7676-B2FE-4807-8247-D8346AF20E55}" dt="2024-09-06T04:51:15.722" v="254"/>
          <ac:spMkLst>
            <pc:docMk/>
            <pc:sldMk cId="4165101680" sldId="2147471721"/>
            <ac:spMk id="15" creationId="{A245BF91-9D80-7224-BE10-7E9FB570A379}"/>
          </ac:spMkLst>
        </pc:spChg>
        <pc:spChg chg="mod">
          <ac:chgData name="Connor Xu" userId="a2fa5610-7f85-41f8-9630-afc02cec4fa9" providerId="ADAL" clId="{F59C7676-B2FE-4807-8247-D8346AF20E55}" dt="2024-09-06T04:51:15.722" v="254"/>
          <ac:spMkLst>
            <pc:docMk/>
            <pc:sldMk cId="4165101680" sldId="2147471721"/>
            <ac:spMk id="16" creationId="{D9142674-0911-6D92-9C50-856720D778E3}"/>
          </ac:spMkLst>
        </pc:spChg>
        <pc:spChg chg="mod">
          <ac:chgData name="Connor Xu" userId="a2fa5610-7f85-41f8-9630-afc02cec4fa9" providerId="ADAL" clId="{F59C7676-B2FE-4807-8247-D8346AF20E55}" dt="2024-09-11T01:05:07.598" v="8653" actId="1076"/>
          <ac:spMkLst>
            <pc:docMk/>
            <pc:sldMk cId="4165101680" sldId="2147471721"/>
            <ac:spMk id="20" creationId="{7A42A8AD-BABD-EADA-56B7-64014EA8431A}"/>
          </ac:spMkLst>
        </pc:spChg>
        <pc:spChg chg="mod">
          <ac:chgData name="Connor Xu" userId="a2fa5610-7f85-41f8-9630-afc02cec4fa9" providerId="ADAL" clId="{F59C7676-B2FE-4807-8247-D8346AF20E55}" dt="2024-09-11T01:05:07.598" v="8653" actId="1076"/>
          <ac:spMkLst>
            <pc:docMk/>
            <pc:sldMk cId="4165101680" sldId="2147471721"/>
            <ac:spMk id="21" creationId="{FF1CA3F1-1E73-53A1-5364-F1887281FBEF}"/>
          </ac:spMkLst>
        </pc:spChg>
        <pc:spChg chg="mod">
          <ac:chgData name="Connor Xu" userId="a2fa5610-7f85-41f8-9630-afc02cec4fa9" providerId="ADAL" clId="{F59C7676-B2FE-4807-8247-D8346AF20E55}" dt="2024-09-11T01:05:07.598" v="8653" actId="1076"/>
          <ac:spMkLst>
            <pc:docMk/>
            <pc:sldMk cId="4165101680" sldId="2147471721"/>
            <ac:spMk id="22" creationId="{0F761120-0C3E-0CAF-5B64-EEAE9DEF49DF}"/>
          </ac:spMkLst>
        </pc:spChg>
        <pc:spChg chg="mod">
          <ac:chgData name="Connor Xu" userId="a2fa5610-7f85-41f8-9630-afc02cec4fa9" providerId="ADAL" clId="{F59C7676-B2FE-4807-8247-D8346AF20E55}" dt="2024-09-11T01:05:07.598" v="8653" actId="1076"/>
          <ac:spMkLst>
            <pc:docMk/>
            <pc:sldMk cId="4165101680" sldId="2147471721"/>
            <ac:spMk id="23" creationId="{C85CCD03-0A42-4C21-7F33-67213B43D22C}"/>
          </ac:spMkLst>
        </pc:spChg>
        <pc:spChg chg="mod">
          <ac:chgData name="Connor Xu" userId="a2fa5610-7f85-41f8-9630-afc02cec4fa9" providerId="ADAL" clId="{F59C7676-B2FE-4807-8247-D8346AF20E55}" dt="2024-09-11T01:05:07.598" v="8653" actId="1076"/>
          <ac:spMkLst>
            <pc:docMk/>
            <pc:sldMk cId="4165101680" sldId="2147471721"/>
            <ac:spMk id="26" creationId="{F92EAE17-E93F-168F-5F18-6737BA0E6426}"/>
          </ac:spMkLst>
        </pc:spChg>
        <pc:spChg chg="mod">
          <ac:chgData name="Connor Xu" userId="a2fa5610-7f85-41f8-9630-afc02cec4fa9" providerId="ADAL" clId="{F59C7676-B2FE-4807-8247-D8346AF20E55}" dt="2024-09-11T01:05:07.598" v="8653" actId="1076"/>
          <ac:spMkLst>
            <pc:docMk/>
            <pc:sldMk cId="4165101680" sldId="2147471721"/>
            <ac:spMk id="27" creationId="{06CC77FD-9B14-E8A8-B043-F85BC60E08EF}"/>
          </ac:spMkLst>
        </pc:spChg>
        <pc:spChg chg="mod">
          <ac:chgData name="Connor Xu" userId="a2fa5610-7f85-41f8-9630-afc02cec4fa9" providerId="ADAL" clId="{F59C7676-B2FE-4807-8247-D8346AF20E55}" dt="2024-09-11T01:05:07.598" v="8653" actId="1076"/>
          <ac:spMkLst>
            <pc:docMk/>
            <pc:sldMk cId="4165101680" sldId="2147471721"/>
            <ac:spMk id="28" creationId="{EA8C5319-6D7B-95E7-2ADD-14DCD6FEEA33}"/>
          </ac:spMkLst>
        </pc:spChg>
        <pc:spChg chg="mod">
          <ac:chgData name="Connor Xu" userId="a2fa5610-7f85-41f8-9630-afc02cec4fa9" providerId="ADAL" clId="{F59C7676-B2FE-4807-8247-D8346AF20E55}" dt="2024-09-11T01:05:07.598" v="8653" actId="1076"/>
          <ac:spMkLst>
            <pc:docMk/>
            <pc:sldMk cId="4165101680" sldId="2147471721"/>
            <ac:spMk id="29" creationId="{4903101E-3304-247B-E1C6-A7314A19039D}"/>
          </ac:spMkLst>
        </pc:spChg>
        <pc:spChg chg="mod">
          <ac:chgData name="Connor Xu" userId="a2fa5610-7f85-41f8-9630-afc02cec4fa9" providerId="ADAL" clId="{F59C7676-B2FE-4807-8247-D8346AF20E55}" dt="2024-09-11T01:05:07.598" v="8653" actId="1076"/>
          <ac:spMkLst>
            <pc:docMk/>
            <pc:sldMk cId="4165101680" sldId="2147471721"/>
            <ac:spMk id="30" creationId="{F29F341E-D3B8-DA0E-52D2-4F7D25F0EA05}"/>
          </ac:spMkLst>
        </pc:spChg>
        <pc:spChg chg="mod">
          <ac:chgData name="Connor Xu" userId="a2fa5610-7f85-41f8-9630-afc02cec4fa9" providerId="ADAL" clId="{F59C7676-B2FE-4807-8247-D8346AF20E55}" dt="2024-09-11T01:05:07.598" v="8653" actId="1076"/>
          <ac:spMkLst>
            <pc:docMk/>
            <pc:sldMk cId="4165101680" sldId="2147471721"/>
            <ac:spMk id="31" creationId="{12C7F34A-2CEE-2CB4-1467-D6DDAEAADC62}"/>
          </ac:spMkLst>
        </pc:spChg>
        <pc:spChg chg="mod">
          <ac:chgData name="Connor Xu" userId="a2fa5610-7f85-41f8-9630-afc02cec4fa9" providerId="ADAL" clId="{F59C7676-B2FE-4807-8247-D8346AF20E55}" dt="2024-09-11T01:05:07.598" v="8653" actId="1076"/>
          <ac:spMkLst>
            <pc:docMk/>
            <pc:sldMk cId="4165101680" sldId="2147471721"/>
            <ac:spMk id="35" creationId="{49EFDCBF-F896-D450-0922-9DC8E023EFFE}"/>
          </ac:spMkLst>
        </pc:spChg>
        <pc:spChg chg="mod">
          <ac:chgData name="Connor Xu" userId="a2fa5610-7f85-41f8-9630-afc02cec4fa9" providerId="ADAL" clId="{F59C7676-B2FE-4807-8247-D8346AF20E55}" dt="2024-09-11T01:05:07.598" v="8653" actId="1076"/>
          <ac:spMkLst>
            <pc:docMk/>
            <pc:sldMk cId="4165101680" sldId="2147471721"/>
            <ac:spMk id="36" creationId="{B287CEA6-5D96-252C-556F-C74BD80366A0}"/>
          </ac:spMkLst>
        </pc:spChg>
        <pc:spChg chg="mod">
          <ac:chgData name="Connor Xu" userId="a2fa5610-7f85-41f8-9630-afc02cec4fa9" providerId="ADAL" clId="{F59C7676-B2FE-4807-8247-D8346AF20E55}" dt="2024-09-11T01:05:07.598" v="8653" actId="1076"/>
          <ac:spMkLst>
            <pc:docMk/>
            <pc:sldMk cId="4165101680" sldId="2147471721"/>
            <ac:spMk id="37" creationId="{08410179-4094-4F2A-4EDF-93F593D12716}"/>
          </ac:spMkLst>
        </pc:spChg>
        <pc:spChg chg="mod">
          <ac:chgData name="Connor Xu" userId="a2fa5610-7f85-41f8-9630-afc02cec4fa9" providerId="ADAL" clId="{F59C7676-B2FE-4807-8247-D8346AF20E55}" dt="2024-09-11T01:05:07.598" v="8653" actId="1076"/>
          <ac:spMkLst>
            <pc:docMk/>
            <pc:sldMk cId="4165101680" sldId="2147471721"/>
            <ac:spMk id="38" creationId="{A04C4ACB-0E8C-076B-0D02-10F8E210107C}"/>
          </ac:spMkLst>
        </pc:spChg>
        <pc:spChg chg="mod">
          <ac:chgData name="Connor Xu" userId="a2fa5610-7f85-41f8-9630-afc02cec4fa9" providerId="ADAL" clId="{F59C7676-B2FE-4807-8247-D8346AF20E55}" dt="2024-09-11T01:05:07.598" v="8653" actId="1076"/>
          <ac:spMkLst>
            <pc:docMk/>
            <pc:sldMk cId="4165101680" sldId="2147471721"/>
            <ac:spMk id="39" creationId="{6688DEF4-7BDC-5E2F-04D6-A288B99CD8A2}"/>
          </ac:spMkLst>
        </pc:spChg>
        <pc:spChg chg="mod">
          <ac:chgData name="Connor Xu" userId="a2fa5610-7f85-41f8-9630-afc02cec4fa9" providerId="ADAL" clId="{F59C7676-B2FE-4807-8247-D8346AF20E55}" dt="2024-09-11T01:05:07.598" v="8653" actId="1076"/>
          <ac:spMkLst>
            <pc:docMk/>
            <pc:sldMk cId="4165101680" sldId="2147471721"/>
            <ac:spMk id="40" creationId="{99CA6905-A82F-1CC7-5FC5-9FA8949B3D8D}"/>
          </ac:spMkLst>
        </pc:spChg>
        <pc:grpChg chg="add del mod">
          <ac:chgData name="Connor Xu" userId="a2fa5610-7f85-41f8-9630-afc02cec4fa9" providerId="ADAL" clId="{F59C7676-B2FE-4807-8247-D8346AF20E55}" dt="2024-09-06T04:56:58.325" v="434" actId="21"/>
          <ac:grpSpMkLst>
            <pc:docMk/>
            <pc:sldMk cId="4165101680" sldId="2147471721"/>
            <ac:grpSpMk id="5" creationId="{B1641413-1D40-58A1-BE54-D1048E0B96F2}"/>
          </ac:grpSpMkLst>
        </pc:grpChg>
        <pc:grpChg chg="add mod">
          <ac:chgData name="Connor Xu" userId="a2fa5610-7f85-41f8-9630-afc02cec4fa9" providerId="ADAL" clId="{F59C7676-B2FE-4807-8247-D8346AF20E55}" dt="2024-09-11T01:05:07.598" v="8653" actId="1076"/>
          <ac:grpSpMkLst>
            <pc:docMk/>
            <pc:sldMk cId="4165101680" sldId="2147471721"/>
            <ac:grpSpMk id="17" creationId="{C4E22C48-2903-27A6-4DEF-7A85B16C8C4E}"/>
          </ac:grpSpMkLst>
        </pc:grpChg>
        <pc:grpChg chg="mod">
          <ac:chgData name="Connor Xu" userId="a2fa5610-7f85-41f8-9630-afc02cec4fa9" providerId="ADAL" clId="{F59C7676-B2FE-4807-8247-D8346AF20E55}" dt="2024-09-11T01:05:07.598" v="8653" actId="1076"/>
          <ac:grpSpMkLst>
            <pc:docMk/>
            <pc:sldMk cId="4165101680" sldId="2147471721"/>
            <ac:grpSpMk id="18" creationId="{E0AD1541-E285-94C7-23A0-EC474AFAD8A9}"/>
          </ac:grpSpMkLst>
        </pc:grpChg>
        <pc:grpChg chg="mod">
          <ac:chgData name="Connor Xu" userId="a2fa5610-7f85-41f8-9630-afc02cec4fa9" providerId="ADAL" clId="{F59C7676-B2FE-4807-8247-D8346AF20E55}" dt="2024-09-11T01:05:07.598" v="8653" actId="1076"/>
          <ac:grpSpMkLst>
            <pc:docMk/>
            <pc:sldMk cId="4165101680" sldId="2147471721"/>
            <ac:grpSpMk id="19" creationId="{3DA3FCFD-E535-312A-DFA8-FD79F7A29E34}"/>
          </ac:grpSpMkLst>
        </pc:grpChg>
        <pc:grpChg chg="mod">
          <ac:chgData name="Connor Xu" userId="a2fa5610-7f85-41f8-9630-afc02cec4fa9" providerId="ADAL" clId="{F59C7676-B2FE-4807-8247-D8346AF20E55}" dt="2024-09-11T01:05:07.598" v="8653" actId="1076"/>
          <ac:grpSpMkLst>
            <pc:docMk/>
            <pc:sldMk cId="4165101680" sldId="2147471721"/>
            <ac:grpSpMk id="24" creationId="{30BDE3D0-F1DB-82E1-0186-9B22AC4B7C37}"/>
          </ac:grpSpMkLst>
        </pc:grpChg>
        <pc:grpChg chg="mod">
          <ac:chgData name="Connor Xu" userId="a2fa5610-7f85-41f8-9630-afc02cec4fa9" providerId="ADAL" clId="{F59C7676-B2FE-4807-8247-D8346AF20E55}" dt="2024-09-11T01:05:07.598" v="8653" actId="1076"/>
          <ac:grpSpMkLst>
            <pc:docMk/>
            <pc:sldMk cId="4165101680" sldId="2147471721"/>
            <ac:grpSpMk id="25" creationId="{AA74DF65-8B87-DF1A-EA05-ECFF5C79475C}"/>
          </ac:grpSpMkLst>
        </pc:grpChg>
        <pc:graphicFrameChg chg="add mod ord modVis">
          <ac:chgData name="Connor Xu" userId="a2fa5610-7f85-41f8-9630-afc02cec4fa9" providerId="ADAL" clId="{F59C7676-B2FE-4807-8247-D8346AF20E55}" dt="2024-09-11T00:58:54.694" v="8230"/>
          <ac:graphicFrameMkLst>
            <pc:docMk/>
            <pc:sldMk cId="4165101680" sldId="2147471721"/>
            <ac:graphicFrameMk id="5" creationId="{896AA32A-1DC3-1F5F-D9A1-6B6773BF742B}"/>
          </ac:graphicFrameMkLst>
        </pc:graphicFrameChg>
        <pc:cxnChg chg="mod">
          <ac:chgData name="Connor Xu" userId="a2fa5610-7f85-41f8-9630-afc02cec4fa9" providerId="ADAL" clId="{F59C7676-B2FE-4807-8247-D8346AF20E55}" dt="2024-09-11T01:05:07.598" v="8653" actId="1076"/>
          <ac:cxnSpMkLst>
            <pc:docMk/>
            <pc:sldMk cId="4165101680" sldId="2147471721"/>
            <ac:cxnSpMk id="32" creationId="{A94E9A21-BF39-9BA3-7332-8DE776328A9B}"/>
          </ac:cxnSpMkLst>
        </pc:cxnChg>
        <pc:cxnChg chg="mod">
          <ac:chgData name="Connor Xu" userId="a2fa5610-7f85-41f8-9630-afc02cec4fa9" providerId="ADAL" clId="{F59C7676-B2FE-4807-8247-D8346AF20E55}" dt="2024-09-11T01:05:07.598" v="8653" actId="1076"/>
          <ac:cxnSpMkLst>
            <pc:docMk/>
            <pc:sldMk cId="4165101680" sldId="2147471721"/>
            <ac:cxnSpMk id="33" creationId="{EBB9C1C2-9DAF-EC4B-2F84-82379F7436B4}"/>
          </ac:cxnSpMkLst>
        </pc:cxnChg>
        <pc:cxnChg chg="mod">
          <ac:chgData name="Connor Xu" userId="a2fa5610-7f85-41f8-9630-afc02cec4fa9" providerId="ADAL" clId="{F59C7676-B2FE-4807-8247-D8346AF20E55}" dt="2024-09-11T01:05:07.598" v="8653" actId="1076"/>
          <ac:cxnSpMkLst>
            <pc:docMk/>
            <pc:sldMk cId="4165101680" sldId="2147471721"/>
            <ac:cxnSpMk id="34" creationId="{8B9521F7-35C8-2EFA-6E38-B16DEFAD1DC5}"/>
          </ac:cxnSpMkLst>
        </pc:cxnChg>
      </pc:sldChg>
      <pc:sldChg chg="modSp add del mod">
        <pc:chgData name="Connor Xu" userId="a2fa5610-7f85-41f8-9630-afc02cec4fa9" providerId="ADAL" clId="{F59C7676-B2FE-4807-8247-D8346AF20E55}" dt="2024-09-06T05:22:01.997" v="2686" actId="47"/>
        <pc:sldMkLst>
          <pc:docMk/>
          <pc:sldMk cId="1117216231" sldId="2147471722"/>
        </pc:sldMkLst>
        <pc:spChg chg="mod">
          <ac:chgData name="Connor Xu" userId="a2fa5610-7f85-41f8-9630-afc02cec4fa9" providerId="ADAL" clId="{F59C7676-B2FE-4807-8247-D8346AF20E55}" dt="2024-09-06T05:21:53.846" v="2681" actId="20577"/>
          <ac:spMkLst>
            <pc:docMk/>
            <pc:sldMk cId="1117216231" sldId="2147471722"/>
            <ac:spMk id="2" creationId="{B068FAC4-4E35-4912-1E95-4C38FB047EE7}"/>
          </ac:spMkLst>
        </pc:spChg>
        <pc:spChg chg="mod">
          <ac:chgData name="Connor Xu" userId="a2fa5610-7f85-41f8-9630-afc02cec4fa9" providerId="ADAL" clId="{F59C7676-B2FE-4807-8247-D8346AF20E55}" dt="2024-09-06T05:21:54.281" v="2684" actId="20577"/>
          <ac:spMkLst>
            <pc:docMk/>
            <pc:sldMk cId="1117216231" sldId="2147471722"/>
            <ac:spMk id="3" creationId="{0B0E0EEE-AAF7-27D9-5453-D9B85663617E}"/>
          </ac:spMkLst>
        </pc:spChg>
      </pc:sldChg>
      <pc:sldChg chg="addSp delSp modSp add mod">
        <pc:chgData name="Connor Xu" userId="a2fa5610-7f85-41f8-9630-afc02cec4fa9" providerId="ADAL" clId="{F59C7676-B2FE-4807-8247-D8346AF20E55}" dt="2024-09-11T01:07:43.972" v="8909" actId="2711"/>
        <pc:sldMkLst>
          <pc:docMk/>
          <pc:sldMk cId="1668175224" sldId="2147471723"/>
        </pc:sldMkLst>
        <pc:spChg chg="mod">
          <ac:chgData name="Connor Xu" userId="a2fa5610-7f85-41f8-9630-afc02cec4fa9" providerId="ADAL" clId="{F59C7676-B2FE-4807-8247-D8346AF20E55}" dt="2024-09-09T02:27:19.455" v="6216" actId="20577"/>
          <ac:spMkLst>
            <pc:docMk/>
            <pc:sldMk cId="1668175224" sldId="2147471723"/>
            <ac:spMk id="2" creationId="{B068FAC4-4E35-4912-1E95-4C38FB047EE7}"/>
          </ac:spMkLst>
        </pc:spChg>
        <pc:spChg chg="mod">
          <ac:chgData name="Connor Xu" userId="a2fa5610-7f85-41f8-9630-afc02cec4fa9" providerId="ADAL" clId="{F59C7676-B2FE-4807-8247-D8346AF20E55}" dt="2024-09-11T01:07:05.520" v="8878" actId="948"/>
          <ac:spMkLst>
            <pc:docMk/>
            <pc:sldMk cId="1668175224" sldId="2147471723"/>
            <ac:spMk id="3" creationId="{0B0E0EEE-AAF7-27D9-5453-D9B85663617E}"/>
          </ac:spMkLst>
        </pc:spChg>
        <pc:spChg chg="add mod">
          <ac:chgData name="Connor Xu" userId="a2fa5610-7f85-41f8-9630-afc02cec4fa9" providerId="ADAL" clId="{F59C7676-B2FE-4807-8247-D8346AF20E55}" dt="2024-09-06T05:53:01.984" v="2792"/>
          <ac:spMkLst>
            <pc:docMk/>
            <pc:sldMk cId="1668175224" sldId="2147471723"/>
            <ac:spMk id="4" creationId="{CE95EF94-10CC-4139-50F6-EDAC57BEA276}"/>
          </ac:spMkLst>
        </pc:spChg>
        <pc:spChg chg="add del mod modVis">
          <ac:chgData name="Connor Xu" userId="a2fa5610-7f85-41f8-9630-afc02cec4fa9" providerId="ADAL" clId="{F59C7676-B2FE-4807-8247-D8346AF20E55}" dt="2024-09-11T01:07:02.199" v="8836"/>
          <ac:spMkLst>
            <pc:docMk/>
            <pc:sldMk cId="1668175224" sldId="2147471723"/>
            <ac:spMk id="4" creationId="{D43739CB-50EA-20BF-89A8-5B9F5E8638A9}"/>
          </ac:spMkLst>
        </pc:spChg>
        <pc:spChg chg="add mod">
          <ac:chgData name="Connor Xu" userId="a2fa5610-7f85-41f8-9630-afc02cec4fa9" providerId="ADAL" clId="{F59C7676-B2FE-4807-8247-D8346AF20E55}" dt="2024-09-06T05:53:01.984" v="2792"/>
          <ac:spMkLst>
            <pc:docMk/>
            <pc:sldMk cId="1668175224" sldId="2147471723"/>
            <ac:spMk id="5" creationId="{E9817E08-A7D1-10D6-3497-F3E65A567839}"/>
          </ac:spMkLst>
        </pc:spChg>
        <pc:spChg chg="add del mod modVis">
          <ac:chgData name="Connor Xu" userId="a2fa5610-7f85-41f8-9630-afc02cec4fa9" providerId="ADAL" clId="{F59C7676-B2FE-4807-8247-D8346AF20E55}" dt="2024-09-11T01:07:05.544" v="8905"/>
          <ac:spMkLst>
            <pc:docMk/>
            <pc:sldMk cId="1668175224" sldId="2147471723"/>
            <ac:spMk id="6" creationId="{2C1C88DD-EA63-C45C-B525-100564FEC183}"/>
          </ac:spMkLst>
        </pc:spChg>
        <pc:spChg chg="add mod">
          <ac:chgData name="Connor Xu" userId="a2fa5610-7f85-41f8-9630-afc02cec4fa9" providerId="ADAL" clId="{F59C7676-B2FE-4807-8247-D8346AF20E55}" dt="2024-09-06T05:53:01.984" v="2792"/>
          <ac:spMkLst>
            <pc:docMk/>
            <pc:sldMk cId="1668175224" sldId="2147471723"/>
            <ac:spMk id="6" creationId="{DA98AC60-7D4D-56F4-FEEE-2D0C2085A67E}"/>
          </ac:spMkLst>
        </pc:spChg>
        <pc:spChg chg="mod">
          <ac:chgData name="Connor Xu" userId="a2fa5610-7f85-41f8-9630-afc02cec4fa9" providerId="ADAL" clId="{F59C7676-B2FE-4807-8247-D8346AF20E55}" dt="2024-09-06T06:01:57.846" v="2930" actId="14100"/>
          <ac:spMkLst>
            <pc:docMk/>
            <pc:sldMk cId="1668175224" sldId="2147471723"/>
            <ac:spMk id="11" creationId="{CB1A029F-3FD1-D288-8025-62A138E2534B}"/>
          </ac:spMkLst>
        </pc:spChg>
        <pc:spChg chg="mod">
          <ac:chgData name="Connor Xu" userId="a2fa5610-7f85-41f8-9630-afc02cec4fa9" providerId="ADAL" clId="{F59C7676-B2FE-4807-8247-D8346AF20E55}" dt="2024-09-06T06:01:41.346" v="2921" actId="403"/>
          <ac:spMkLst>
            <pc:docMk/>
            <pc:sldMk cId="1668175224" sldId="2147471723"/>
            <ac:spMk id="12" creationId="{B1A9F03A-05CA-C516-43B8-4E22B6E69807}"/>
          </ac:spMkLst>
        </pc:spChg>
        <pc:spChg chg="mod">
          <ac:chgData name="Connor Xu" userId="a2fa5610-7f85-41f8-9630-afc02cec4fa9" providerId="ADAL" clId="{F59C7676-B2FE-4807-8247-D8346AF20E55}" dt="2024-09-11T01:07:43.972" v="8909" actId="2711"/>
          <ac:spMkLst>
            <pc:docMk/>
            <pc:sldMk cId="1668175224" sldId="2147471723"/>
            <ac:spMk id="13" creationId="{61BE3C32-8034-4687-1D00-57EAF0B18DB3}"/>
          </ac:spMkLst>
        </pc:spChg>
        <pc:spChg chg="mod">
          <ac:chgData name="Connor Xu" userId="a2fa5610-7f85-41f8-9630-afc02cec4fa9" providerId="ADAL" clId="{F59C7676-B2FE-4807-8247-D8346AF20E55}" dt="2024-09-06T06:02:11.194" v="2963" actId="20577"/>
          <ac:spMkLst>
            <pc:docMk/>
            <pc:sldMk cId="1668175224" sldId="2147471723"/>
            <ac:spMk id="14" creationId="{4DC697DD-5A73-11C9-5FBE-43260260DF2E}"/>
          </ac:spMkLst>
        </pc:spChg>
        <pc:spChg chg="mod">
          <ac:chgData name="Connor Xu" userId="a2fa5610-7f85-41f8-9630-afc02cec4fa9" providerId="ADAL" clId="{F59C7676-B2FE-4807-8247-D8346AF20E55}" dt="2024-09-06T06:01:47.079" v="2924" actId="14100"/>
          <ac:spMkLst>
            <pc:docMk/>
            <pc:sldMk cId="1668175224" sldId="2147471723"/>
            <ac:spMk id="15" creationId="{83EA9ACB-7341-15D6-868A-7784DCD7AF48}"/>
          </ac:spMkLst>
        </pc:spChg>
        <pc:spChg chg="mod">
          <ac:chgData name="Connor Xu" userId="a2fa5610-7f85-41f8-9630-afc02cec4fa9" providerId="ADAL" clId="{F59C7676-B2FE-4807-8247-D8346AF20E55}" dt="2024-09-06T06:01:36.976" v="2919" actId="403"/>
          <ac:spMkLst>
            <pc:docMk/>
            <pc:sldMk cId="1668175224" sldId="2147471723"/>
            <ac:spMk id="16" creationId="{578EAD7C-1F50-526F-9911-E0AE796AE398}"/>
          </ac:spMkLst>
        </pc:spChg>
        <pc:grpChg chg="add del mod">
          <ac:chgData name="Connor Xu" userId="a2fa5610-7f85-41f8-9630-afc02cec4fa9" providerId="ADAL" clId="{F59C7676-B2FE-4807-8247-D8346AF20E55}" dt="2024-09-06T05:53:21.434" v="2795" actId="165"/>
          <ac:grpSpMkLst>
            <pc:docMk/>
            <pc:sldMk cId="1668175224" sldId="2147471723"/>
            <ac:grpSpMk id="7" creationId="{92C86D4F-2BC3-D1E2-6896-F1B3BC8E11EC}"/>
          </ac:grpSpMkLst>
        </pc:grpChg>
        <pc:grpChg chg="mod topLvl">
          <ac:chgData name="Connor Xu" userId="a2fa5610-7f85-41f8-9630-afc02cec4fa9" providerId="ADAL" clId="{F59C7676-B2FE-4807-8247-D8346AF20E55}" dt="2024-09-06T06:01:27.089" v="2917" actId="1036"/>
          <ac:grpSpMkLst>
            <pc:docMk/>
            <pc:sldMk cId="1668175224" sldId="2147471723"/>
            <ac:grpSpMk id="8" creationId="{BC6DFADB-1ED9-BCE5-6C06-56D852E6A423}"/>
          </ac:grpSpMkLst>
        </pc:grpChg>
        <pc:grpChg chg="mod topLvl">
          <ac:chgData name="Connor Xu" userId="a2fa5610-7f85-41f8-9630-afc02cec4fa9" providerId="ADAL" clId="{F59C7676-B2FE-4807-8247-D8346AF20E55}" dt="2024-09-06T06:02:00.775" v="2931" actId="465"/>
          <ac:grpSpMkLst>
            <pc:docMk/>
            <pc:sldMk cId="1668175224" sldId="2147471723"/>
            <ac:grpSpMk id="9" creationId="{2D3C2CBE-5EC0-DBA2-C439-1082BCC9739A}"/>
          </ac:grpSpMkLst>
        </pc:grpChg>
        <pc:grpChg chg="mod topLvl">
          <ac:chgData name="Connor Xu" userId="a2fa5610-7f85-41f8-9630-afc02cec4fa9" providerId="ADAL" clId="{F59C7676-B2FE-4807-8247-D8346AF20E55}" dt="2024-09-06T06:01:11.351" v="2905" actId="14100"/>
          <ac:grpSpMkLst>
            <pc:docMk/>
            <pc:sldMk cId="1668175224" sldId="2147471723"/>
            <ac:grpSpMk id="10" creationId="{8604456F-3BB6-B7C0-13EA-6248F40FD775}"/>
          </ac:grpSpMkLst>
        </pc:grpChg>
        <pc:graphicFrameChg chg="add mod ord modVis">
          <ac:chgData name="Connor Xu" userId="a2fa5610-7f85-41f8-9630-afc02cec4fa9" providerId="ADAL" clId="{F59C7676-B2FE-4807-8247-D8346AF20E55}" dt="2024-09-11T01:07:05.544" v="8907"/>
          <ac:graphicFrameMkLst>
            <pc:docMk/>
            <pc:sldMk cId="1668175224" sldId="2147471723"/>
            <ac:graphicFrameMk id="5" creationId="{0285EC91-7B4D-0C6E-A1B0-20896543E1F9}"/>
          </ac:graphicFrameMkLst>
        </pc:graphicFrameChg>
      </pc:sldChg>
      <pc:sldChg chg="addSp modSp add mod">
        <pc:chgData name="Connor Xu" userId="a2fa5610-7f85-41f8-9630-afc02cec4fa9" providerId="ADAL" clId="{F59C7676-B2FE-4807-8247-D8346AF20E55}" dt="2024-09-11T04:28:23.433" v="11926" actId="2711"/>
        <pc:sldMkLst>
          <pc:docMk/>
          <pc:sldMk cId="2717348167" sldId="2147471724"/>
        </pc:sldMkLst>
        <pc:spChg chg="mod">
          <ac:chgData name="Connor Xu" userId="a2fa5610-7f85-41f8-9630-afc02cec4fa9" providerId="ADAL" clId="{F59C7676-B2FE-4807-8247-D8346AF20E55}" dt="2024-09-11T04:28:23.433" v="11926" actId="2711"/>
          <ac:spMkLst>
            <pc:docMk/>
            <pc:sldMk cId="2717348167" sldId="2147471724"/>
            <ac:spMk id="2" creationId="{B068FAC4-4E35-4912-1E95-4C38FB047EE7}"/>
          </ac:spMkLst>
        </pc:spChg>
        <pc:spChg chg="mod">
          <ac:chgData name="Connor Xu" userId="a2fa5610-7f85-41f8-9630-afc02cec4fa9" providerId="ADAL" clId="{F59C7676-B2FE-4807-8247-D8346AF20E55}" dt="2024-09-09T22:04:08.727" v="6320" actId="20577"/>
          <ac:spMkLst>
            <pc:docMk/>
            <pc:sldMk cId="2717348167" sldId="2147471724"/>
            <ac:spMk id="3" creationId="{0B0E0EEE-AAF7-27D9-5453-D9B85663617E}"/>
          </ac:spMkLst>
        </pc:spChg>
        <pc:spChg chg="add mod">
          <ac:chgData name="Connor Xu" userId="a2fa5610-7f85-41f8-9630-afc02cec4fa9" providerId="ADAL" clId="{F59C7676-B2FE-4807-8247-D8346AF20E55}" dt="2024-09-06T06:30:43.311" v="4451" actId="571"/>
          <ac:spMkLst>
            <pc:docMk/>
            <pc:sldMk cId="2717348167" sldId="2147471724"/>
            <ac:spMk id="5" creationId="{18027BCF-9955-19A5-A959-14BDD71DADAB}"/>
          </ac:spMkLst>
        </pc:spChg>
        <pc:graphicFrameChg chg="add mod modGraphic">
          <ac:chgData name="Connor Xu" userId="a2fa5610-7f85-41f8-9630-afc02cec4fa9" providerId="ADAL" clId="{F59C7676-B2FE-4807-8247-D8346AF20E55}" dt="2024-09-11T01:14:36.445" v="9566" actId="20577"/>
          <ac:graphicFrameMkLst>
            <pc:docMk/>
            <pc:sldMk cId="2717348167" sldId="2147471724"/>
            <ac:graphicFrameMk id="4" creationId="{BD48924B-0496-CA2C-8D73-A47E59DB3E4C}"/>
          </ac:graphicFrameMkLst>
        </pc:graphicFrameChg>
      </pc:sldChg>
      <pc:sldChg chg="addSp delSp modSp add mod">
        <pc:chgData name="Connor Xu" userId="a2fa5610-7f85-41f8-9630-afc02cec4fa9" providerId="ADAL" clId="{F59C7676-B2FE-4807-8247-D8346AF20E55}" dt="2024-09-11T01:06:15.402" v="8789"/>
        <pc:sldMkLst>
          <pc:docMk/>
          <pc:sldMk cId="30117967" sldId="2147471725"/>
        </pc:sldMkLst>
        <pc:spChg chg="mod">
          <ac:chgData name="Connor Xu" userId="a2fa5610-7f85-41f8-9630-afc02cec4fa9" providerId="ADAL" clId="{F59C7676-B2FE-4807-8247-D8346AF20E55}" dt="2024-09-11T01:06:15.370" v="8760" actId="948"/>
          <ac:spMkLst>
            <pc:docMk/>
            <pc:sldMk cId="30117967" sldId="2147471725"/>
            <ac:spMk id="3" creationId="{140EC108-D5C9-3E4E-4D9B-4F09A8C4F2B4}"/>
          </ac:spMkLst>
        </pc:spChg>
        <pc:spChg chg="mod">
          <ac:chgData name="Connor Xu" userId="a2fa5610-7f85-41f8-9630-afc02cec4fa9" providerId="ADAL" clId="{F59C7676-B2FE-4807-8247-D8346AF20E55}" dt="2024-09-06T05:20:51.062" v="2561" actId="14100"/>
          <ac:spMkLst>
            <pc:docMk/>
            <pc:sldMk cId="30117967" sldId="2147471725"/>
            <ac:spMk id="6" creationId="{B1CDB604-FD2D-DCA3-77B9-F6FD448B066C}"/>
          </ac:spMkLst>
        </pc:spChg>
        <pc:spChg chg="add del mod modVis">
          <ac:chgData name="Connor Xu" userId="a2fa5610-7f85-41f8-9630-afc02cec4fa9" providerId="ADAL" clId="{F59C7676-B2FE-4807-8247-D8346AF20E55}" dt="2024-09-11T01:06:10.141" v="8719"/>
          <ac:spMkLst>
            <pc:docMk/>
            <pc:sldMk cId="30117967" sldId="2147471725"/>
            <ac:spMk id="7" creationId="{52CCC132-7574-F153-C34C-3058D32ACB9E}"/>
          </ac:spMkLst>
        </pc:spChg>
        <pc:spChg chg="add del mod modVis">
          <ac:chgData name="Connor Xu" userId="a2fa5610-7f85-41f8-9630-afc02cec4fa9" providerId="ADAL" clId="{F59C7676-B2FE-4807-8247-D8346AF20E55}" dt="2024-09-11T01:06:11.171" v="8751"/>
          <ac:spMkLst>
            <pc:docMk/>
            <pc:sldMk cId="30117967" sldId="2147471725"/>
            <ac:spMk id="8" creationId="{C1D89D4F-1057-08CB-C50C-9BDBDA1123DB}"/>
          </ac:spMkLst>
        </pc:spChg>
        <pc:spChg chg="add del mod modVis">
          <ac:chgData name="Connor Xu" userId="a2fa5610-7f85-41f8-9630-afc02cec4fa9" providerId="ADAL" clId="{F59C7676-B2FE-4807-8247-D8346AF20E55}" dt="2024-09-11T01:06:15.402" v="8787"/>
          <ac:spMkLst>
            <pc:docMk/>
            <pc:sldMk cId="30117967" sldId="2147471725"/>
            <ac:spMk id="9" creationId="{B061EC62-3E33-81C7-304F-E255AC9B107E}"/>
          </ac:spMkLst>
        </pc:spChg>
        <pc:spChg chg="mod">
          <ac:chgData name="Connor Xu" userId="a2fa5610-7f85-41f8-9630-afc02cec4fa9" providerId="ADAL" clId="{F59C7676-B2FE-4807-8247-D8346AF20E55}" dt="2024-09-06T05:15:43.720" v="1709" actId="12788"/>
          <ac:spMkLst>
            <pc:docMk/>
            <pc:sldMk cId="30117967" sldId="2147471725"/>
            <ac:spMk id="20" creationId="{0BCC5229-FC35-485C-8351-9766C2E4B144}"/>
          </ac:spMkLst>
        </pc:spChg>
        <pc:spChg chg="mod">
          <ac:chgData name="Connor Xu" userId="a2fa5610-7f85-41f8-9630-afc02cec4fa9" providerId="ADAL" clId="{F59C7676-B2FE-4807-8247-D8346AF20E55}" dt="2024-09-06T05:15:43.720" v="1709" actId="12788"/>
          <ac:spMkLst>
            <pc:docMk/>
            <pc:sldMk cId="30117967" sldId="2147471725"/>
            <ac:spMk id="35" creationId="{04DF6FCA-9208-CC56-2EC4-2F7F71804316}"/>
          </ac:spMkLst>
        </pc:spChg>
        <pc:spChg chg="del">
          <ac:chgData name="Connor Xu" userId="a2fa5610-7f85-41f8-9630-afc02cec4fa9" providerId="ADAL" clId="{F59C7676-B2FE-4807-8247-D8346AF20E55}" dt="2024-09-06T05:16:10.505" v="1710" actId="478"/>
          <ac:spMkLst>
            <pc:docMk/>
            <pc:sldMk cId="30117967" sldId="2147471725"/>
            <ac:spMk id="50" creationId="{2C244B14-7B7B-C94D-9805-0107E9D4ACC1}"/>
          </ac:spMkLst>
        </pc:spChg>
        <pc:spChg chg="del">
          <ac:chgData name="Connor Xu" userId="a2fa5610-7f85-41f8-9630-afc02cec4fa9" providerId="ADAL" clId="{F59C7676-B2FE-4807-8247-D8346AF20E55}" dt="2024-09-06T05:16:10.505" v="1710" actId="478"/>
          <ac:spMkLst>
            <pc:docMk/>
            <pc:sldMk cId="30117967" sldId="2147471725"/>
            <ac:spMk id="53" creationId="{3016C8EF-AEA3-DC0B-7B53-059A044FE665}"/>
          </ac:spMkLst>
        </pc:spChg>
        <pc:spChg chg="del">
          <ac:chgData name="Connor Xu" userId="a2fa5610-7f85-41f8-9630-afc02cec4fa9" providerId="ADAL" clId="{F59C7676-B2FE-4807-8247-D8346AF20E55}" dt="2024-09-06T05:16:10.505" v="1710" actId="478"/>
          <ac:spMkLst>
            <pc:docMk/>
            <pc:sldMk cId="30117967" sldId="2147471725"/>
            <ac:spMk id="76" creationId="{611C71AF-194D-9506-DB2A-C3AFE85F6077}"/>
          </ac:spMkLst>
        </pc:spChg>
        <pc:spChg chg="del">
          <ac:chgData name="Connor Xu" userId="a2fa5610-7f85-41f8-9630-afc02cec4fa9" providerId="ADAL" clId="{F59C7676-B2FE-4807-8247-D8346AF20E55}" dt="2024-09-06T05:16:10.505" v="1710" actId="478"/>
          <ac:spMkLst>
            <pc:docMk/>
            <pc:sldMk cId="30117967" sldId="2147471725"/>
            <ac:spMk id="77" creationId="{607BB3F3-0C8B-722E-5ED9-2DB7016E039E}"/>
          </ac:spMkLst>
        </pc:spChg>
        <pc:spChg chg="del">
          <ac:chgData name="Connor Xu" userId="a2fa5610-7f85-41f8-9630-afc02cec4fa9" providerId="ADAL" clId="{F59C7676-B2FE-4807-8247-D8346AF20E55}" dt="2024-09-06T05:16:10.505" v="1710" actId="478"/>
          <ac:spMkLst>
            <pc:docMk/>
            <pc:sldMk cId="30117967" sldId="2147471725"/>
            <ac:spMk id="78" creationId="{8A71D197-0F7C-8277-F439-0D6954F289CD}"/>
          </ac:spMkLst>
        </pc:spChg>
        <pc:spChg chg="del">
          <ac:chgData name="Connor Xu" userId="a2fa5610-7f85-41f8-9630-afc02cec4fa9" providerId="ADAL" clId="{F59C7676-B2FE-4807-8247-D8346AF20E55}" dt="2024-09-06T05:16:10.505" v="1710" actId="478"/>
          <ac:spMkLst>
            <pc:docMk/>
            <pc:sldMk cId="30117967" sldId="2147471725"/>
            <ac:spMk id="79" creationId="{9A6998B4-F61F-1B47-2B72-CD6F96B54E27}"/>
          </ac:spMkLst>
        </pc:spChg>
        <pc:graphicFrameChg chg="add mod modGraphic">
          <ac:chgData name="Connor Xu" userId="a2fa5610-7f85-41f8-9630-afc02cec4fa9" providerId="ADAL" clId="{F59C7676-B2FE-4807-8247-D8346AF20E55}" dt="2024-09-06T05:21:57.017" v="2685" actId="1076"/>
          <ac:graphicFrameMkLst>
            <pc:docMk/>
            <pc:sldMk cId="30117967" sldId="2147471725"/>
            <ac:graphicFrameMk id="2" creationId="{175779B1-B1F0-C8D1-AC01-6FB3D4449348}"/>
          </ac:graphicFrameMkLst>
        </pc:graphicFrameChg>
        <pc:graphicFrameChg chg="mod">
          <ac:chgData name="Connor Xu" userId="a2fa5610-7f85-41f8-9630-afc02cec4fa9" providerId="ADAL" clId="{F59C7676-B2FE-4807-8247-D8346AF20E55}" dt="2024-09-11T01:06:15.402" v="8789"/>
          <ac:graphicFrameMkLst>
            <pc:docMk/>
            <pc:sldMk cId="30117967" sldId="2147471725"/>
            <ac:graphicFrameMk id="5" creationId="{92F134F0-A1BF-0E34-9B0D-506C8D9B51E6}"/>
          </ac:graphicFrameMkLst>
        </pc:graphicFrameChg>
      </pc:sldChg>
      <pc:sldChg chg="add del">
        <pc:chgData name="Connor Xu" userId="a2fa5610-7f85-41f8-9630-afc02cec4fa9" providerId="ADAL" clId="{F59C7676-B2FE-4807-8247-D8346AF20E55}" dt="2024-09-06T05:11:34.401" v="932"/>
        <pc:sldMkLst>
          <pc:docMk/>
          <pc:sldMk cId="1641871998" sldId="2147471725"/>
        </pc:sldMkLst>
      </pc:sldChg>
      <pc:sldChg chg="addSp delSp modSp add mod ord">
        <pc:chgData name="Connor Xu" userId="a2fa5610-7f85-41f8-9630-afc02cec4fa9" providerId="ADAL" clId="{F59C7676-B2FE-4807-8247-D8346AF20E55}" dt="2024-09-11T04:30:19.292" v="11951" actId="20577"/>
        <pc:sldMkLst>
          <pc:docMk/>
          <pc:sldMk cId="1563573229" sldId="2147471726"/>
        </pc:sldMkLst>
        <pc:spChg chg="mod">
          <ac:chgData name="Connor Xu" userId="a2fa5610-7f85-41f8-9630-afc02cec4fa9" providerId="ADAL" clId="{F59C7676-B2FE-4807-8247-D8346AF20E55}" dt="2024-09-11T04:30:19.292" v="11951" actId="20577"/>
          <ac:spMkLst>
            <pc:docMk/>
            <pc:sldMk cId="1563573229" sldId="2147471726"/>
            <ac:spMk id="2" creationId="{B068FAC4-4E35-4912-1E95-4C38FB047EE7}"/>
          </ac:spMkLst>
        </pc:spChg>
        <pc:spChg chg="mod">
          <ac:chgData name="Connor Xu" userId="a2fa5610-7f85-41f8-9630-afc02cec4fa9" providerId="ADAL" clId="{F59C7676-B2FE-4807-8247-D8346AF20E55}" dt="2024-09-11T01:09:48.332" v="9125" actId="948"/>
          <ac:spMkLst>
            <pc:docMk/>
            <pc:sldMk cId="1563573229" sldId="2147471726"/>
            <ac:spMk id="3" creationId="{0B0E0EEE-AAF7-27D9-5453-D9B85663617E}"/>
          </ac:spMkLst>
        </pc:spChg>
        <pc:spChg chg="add del mod modVis">
          <ac:chgData name="Connor Xu" userId="a2fa5610-7f85-41f8-9630-afc02cec4fa9" providerId="ADAL" clId="{F59C7676-B2FE-4807-8247-D8346AF20E55}" dt="2024-09-11T01:09:40.100" v="9045"/>
          <ac:spMkLst>
            <pc:docMk/>
            <pc:sldMk cId="1563573229" sldId="2147471726"/>
            <ac:spMk id="4" creationId="{C14FE50F-2EA7-CD04-660A-52DE4A25FAF1}"/>
          </ac:spMkLst>
        </pc:spChg>
        <pc:spChg chg="mod topLvl">
          <ac:chgData name="Connor Xu" userId="a2fa5610-7f85-41f8-9630-afc02cec4fa9" providerId="ADAL" clId="{F59C7676-B2FE-4807-8247-D8346AF20E55}" dt="2024-09-11T01:11:15.901" v="9312" actId="1036"/>
          <ac:spMkLst>
            <pc:docMk/>
            <pc:sldMk cId="1563573229" sldId="2147471726"/>
            <ac:spMk id="5" creationId="{4B2EA770-5DA8-530A-DF58-501FA844CFA6}"/>
          </ac:spMkLst>
        </pc:spChg>
        <pc:spChg chg="mod topLvl">
          <ac:chgData name="Connor Xu" userId="a2fa5610-7f85-41f8-9630-afc02cec4fa9" providerId="ADAL" clId="{F59C7676-B2FE-4807-8247-D8346AF20E55}" dt="2024-09-11T01:11:15.901" v="9312" actId="1036"/>
          <ac:spMkLst>
            <pc:docMk/>
            <pc:sldMk cId="1563573229" sldId="2147471726"/>
            <ac:spMk id="10" creationId="{9EDA23BF-0CD6-7644-DCD5-1E3D62C5B312}"/>
          </ac:spMkLst>
        </pc:spChg>
        <pc:spChg chg="mod topLvl">
          <ac:chgData name="Connor Xu" userId="a2fa5610-7f85-41f8-9630-afc02cec4fa9" providerId="ADAL" clId="{F59C7676-B2FE-4807-8247-D8346AF20E55}" dt="2024-09-11T01:11:15.901" v="9312" actId="1036"/>
          <ac:spMkLst>
            <pc:docMk/>
            <pc:sldMk cId="1563573229" sldId="2147471726"/>
            <ac:spMk id="11" creationId="{A66EC177-8929-A22A-BD87-9E632579C276}"/>
          </ac:spMkLst>
        </pc:spChg>
        <pc:spChg chg="mod topLvl">
          <ac:chgData name="Connor Xu" userId="a2fa5610-7f85-41f8-9630-afc02cec4fa9" providerId="ADAL" clId="{F59C7676-B2FE-4807-8247-D8346AF20E55}" dt="2024-09-11T01:11:15.901" v="9312" actId="1036"/>
          <ac:spMkLst>
            <pc:docMk/>
            <pc:sldMk cId="1563573229" sldId="2147471726"/>
            <ac:spMk id="12" creationId="{0B7B961B-25E6-91E9-AAB1-1300B39165E0}"/>
          </ac:spMkLst>
        </pc:spChg>
        <pc:spChg chg="mod topLvl">
          <ac:chgData name="Connor Xu" userId="a2fa5610-7f85-41f8-9630-afc02cec4fa9" providerId="ADAL" clId="{F59C7676-B2FE-4807-8247-D8346AF20E55}" dt="2024-09-11T01:11:15.901" v="9312" actId="1036"/>
          <ac:spMkLst>
            <pc:docMk/>
            <pc:sldMk cId="1563573229" sldId="2147471726"/>
            <ac:spMk id="13" creationId="{006FABD6-7E1D-85CF-C802-D0B35B00BA23}"/>
          </ac:spMkLst>
        </pc:spChg>
        <pc:spChg chg="mod topLvl">
          <ac:chgData name="Connor Xu" userId="a2fa5610-7f85-41f8-9630-afc02cec4fa9" providerId="ADAL" clId="{F59C7676-B2FE-4807-8247-D8346AF20E55}" dt="2024-09-11T01:11:15.901" v="9312" actId="1036"/>
          <ac:spMkLst>
            <pc:docMk/>
            <pc:sldMk cId="1563573229" sldId="2147471726"/>
            <ac:spMk id="14" creationId="{E3109F83-FB2A-87F6-8409-285B33330AE4}"/>
          </ac:spMkLst>
        </pc:spChg>
        <pc:spChg chg="add mod">
          <ac:chgData name="Connor Xu" userId="a2fa5610-7f85-41f8-9630-afc02cec4fa9" providerId="ADAL" clId="{F59C7676-B2FE-4807-8247-D8346AF20E55}" dt="2024-09-11T01:11:08.154" v="9286" actId="1035"/>
          <ac:spMkLst>
            <pc:docMk/>
            <pc:sldMk cId="1563573229" sldId="2147471726"/>
            <ac:spMk id="15" creationId="{42BA48D9-A4AD-5CFC-489A-FC7390EC831E}"/>
          </ac:spMkLst>
        </pc:spChg>
        <pc:spChg chg="add mod">
          <ac:chgData name="Connor Xu" userId="a2fa5610-7f85-41f8-9630-afc02cec4fa9" providerId="ADAL" clId="{F59C7676-B2FE-4807-8247-D8346AF20E55}" dt="2024-09-06T06:09:24.784" v="3118"/>
          <ac:spMkLst>
            <pc:docMk/>
            <pc:sldMk cId="1563573229" sldId="2147471726"/>
            <ac:spMk id="16" creationId="{A50D2274-B536-B965-1595-9E4E89902B77}"/>
          </ac:spMkLst>
        </pc:spChg>
        <pc:spChg chg="add del mod modVis">
          <ac:chgData name="Connor Xu" userId="a2fa5610-7f85-41f8-9630-afc02cec4fa9" providerId="ADAL" clId="{F59C7676-B2FE-4807-8247-D8346AF20E55}" dt="2024-09-11T01:09:45.637" v="9093"/>
          <ac:spMkLst>
            <pc:docMk/>
            <pc:sldMk cId="1563573229" sldId="2147471726"/>
            <ac:spMk id="17" creationId="{15573C57-6E0E-01CC-9E69-0B92A97D4BAC}"/>
          </ac:spMkLst>
        </pc:spChg>
        <pc:spChg chg="add mod">
          <ac:chgData name="Connor Xu" userId="a2fa5610-7f85-41f8-9630-afc02cec4fa9" providerId="ADAL" clId="{F59C7676-B2FE-4807-8247-D8346AF20E55}" dt="2024-09-06T06:09:24.784" v="3118"/>
          <ac:spMkLst>
            <pc:docMk/>
            <pc:sldMk cId="1563573229" sldId="2147471726"/>
            <ac:spMk id="17" creationId="{3A801AA8-1614-DF26-4FF2-BB181F6D56F6}"/>
          </ac:spMkLst>
        </pc:spChg>
        <pc:spChg chg="add del mod modVis">
          <ac:chgData name="Connor Xu" userId="a2fa5610-7f85-41f8-9630-afc02cec4fa9" providerId="ADAL" clId="{F59C7676-B2FE-4807-8247-D8346AF20E55}" dt="2024-09-11T01:09:48.364" v="9152"/>
          <ac:spMkLst>
            <pc:docMk/>
            <pc:sldMk cId="1563573229" sldId="2147471726"/>
            <ac:spMk id="18" creationId="{456A98A0-77AE-071A-62B9-CF781203CA8C}"/>
          </ac:spMkLst>
        </pc:spChg>
        <pc:grpChg chg="add del mod">
          <ac:chgData name="Connor Xu" userId="a2fa5610-7f85-41f8-9630-afc02cec4fa9" providerId="ADAL" clId="{F59C7676-B2FE-4807-8247-D8346AF20E55}" dt="2024-09-06T06:04:53.702" v="3043" actId="165"/>
          <ac:grpSpMkLst>
            <pc:docMk/>
            <pc:sldMk cId="1563573229" sldId="2147471726"/>
            <ac:grpSpMk id="4" creationId="{5E9746F0-2050-1895-C516-1351F3D778E3}"/>
          </ac:grpSpMkLst>
        </pc:grpChg>
        <pc:graphicFrameChg chg="add mod ord modVis">
          <ac:chgData name="Connor Xu" userId="a2fa5610-7f85-41f8-9630-afc02cec4fa9" providerId="ADAL" clId="{F59C7676-B2FE-4807-8247-D8346AF20E55}" dt="2024-09-11T01:09:48.364" v="9154"/>
          <ac:graphicFrameMkLst>
            <pc:docMk/>
            <pc:sldMk cId="1563573229" sldId="2147471726"/>
            <ac:graphicFrameMk id="16" creationId="{67E9495D-76C8-9136-7227-F650A063DE5D}"/>
          </ac:graphicFrameMkLst>
        </pc:graphicFrameChg>
        <pc:cxnChg chg="mod topLvl">
          <ac:chgData name="Connor Xu" userId="a2fa5610-7f85-41f8-9630-afc02cec4fa9" providerId="ADAL" clId="{F59C7676-B2FE-4807-8247-D8346AF20E55}" dt="2024-09-11T01:11:15.901" v="9312" actId="1036"/>
          <ac:cxnSpMkLst>
            <pc:docMk/>
            <pc:sldMk cId="1563573229" sldId="2147471726"/>
            <ac:cxnSpMk id="6" creationId="{5E81F4B2-D449-01D2-0B58-67B81DADD8E1}"/>
          </ac:cxnSpMkLst>
        </pc:cxnChg>
        <pc:cxnChg chg="mod topLvl">
          <ac:chgData name="Connor Xu" userId="a2fa5610-7f85-41f8-9630-afc02cec4fa9" providerId="ADAL" clId="{F59C7676-B2FE-4807-8247-D8346AF20E55}" dt="2024-09-11T01:11:15.901" v="9312" actId="1036"/>
          <ac:cxnSpMkLst>
            <pc:docMk/>
            <pc:sldMk cId="1563573229" sldId="2147471726"/>
            <ac:cxnSpMk id="7" creationId="{C38CCE88-DC5B-EF78-7BF1-D4C92269CA44}"/>
          </ac:cxnSpMkLst>
        </pc:cxnChg>
        <pc:cxnChg chg="mod topLvl">
          <ac:chgData name="Connor Xu" userId="a2fa5610-7f85-41f8-9630-afc02cec4fa9" providerId="ADAL" clId="{F59C7676-B2FE-4807-8247-D8346AF20E55}" dt="2024-09-11T01:11:15.901" v="9312" actId="1036"/>
          <ac:cxnSpMkLst>
            <pc:docMk/>
            <pc:sldMk cId="1563573229" sldId="2147471726"/>
            <ac:cxnSpMk id="8" creationId="{16BF22AA-14FB-D2FD-20B0-791090F6E6C6}"/>
          </ac:cxnSpMkLst>
        </pc:cxnChg>
        <pc:cxnChg chg="mod topLvl">
          <ac:chgData name="Connor Xu" userId="a2fa5610-7f85-41f8-9630-afc02cec4fa9" providerId="ADAL" clId="{F59C7676-B2FE-4807-8247-D8346AF20E55}" dt="2024-09-11T01:11:15.901" v="9312" actId="1036"/>
          <ac:cxnSpMkLst>
            <pc:docMk/>
            <pc:sldMk cId="1563573229" sldId="2147471726"/>
            <ac:cxnSpMk id="9" creationId="{3C20F23D-51D2-3B6A-7830-2863EF942302}"/>
          </ac:cxnSpMkLst>
        </pc:cxnChg>
      </pc:sldChg>
      <pc:sldChg chg="addSp delSp modSp add mod">
        <pc:chgData name="Connor Xu" userId="a2fa5610-7f85-41f8-9630-afc02cec4fa9" providerId="ADAL" clId="{F59C7676-B2FE-4807-8247-D8346AF20E55}" dt="2024-09-11T01:19:51.729" v="9841" actId="1076"/>
        <pc:sldMkLst>
          <pc:docMk/>
          <pc:sldMk cId="1299380938" sldId="2147471727"/>
        </pc:sldMkLst>
        <pc:spChg chg="del mod">
          <ac:chgData name="Connor Xu" userId="a2fa5610-7f85-41f8-9630-afc02cec4fa9" providerId="ADAL" clId="{F59C7676-B2FE-4807-8247-D8346AF20E55}" dt="2024-09-06T06:29:42.987" v="4355" actId="478"/>
          <ac:spMkLst>
            <pc:docMk/>
            <pc:sldMk cId="1299380938" sldId="2147471727"/>
            <ac:spMk id="2" creationId="{B068FAC4-4E35-4912-1E95-4C38FB047EE7}"/>
          </ac:spMkLst>
        </pc:spChg>
        <pc:spChg chg="mod">
          <ac:chgData name="Connor Xu" userId="a2fa5610-7f85-41f8-9630-afc02cec4fa9" providerId="ADAL" clId="{F59C7676-B2FE-4807-8247-D8346AF20E55}" dt="2024-09-09T22:04:25.444" v="6324" actId="20577"/>
          <ac:spMkLst>
            <pc:docMk/>
            <pc:sldMk cId="1299380938" sldId="2147471727"/>
            <ac:spMk id="3" creationId="{0B0E0EEE-AAF7-27D9-5453-D9B85663617E}"/>
          </ac:spMkLst>
        </pc:spChg>
        <pc:spChg chg="add del">
          <ac:chgData name="Connor Xu" userId="a2fa5610-7f85-41f8-9630-afc02cec4fa9" providerId="ADAL" clId="{F59C7676-B2FE-4807-8247-D8346AF20E55}" dt="2024-09-06T06:31:14.450" v="4524" actId="22"/>
          <ac:spMkLst>
            <pc:docMk/>
            <pc:sldMk cId="1299380938" sldId="2147471727"/>
            <ac:spMk id="6" creationId="{7FEE6737-9C78-F5AB-6968-8346FA56CFE8}"/>
          </ac:spMkLst>
        </pc:spChg>
        <pc:spChg chg="add mod">
          <ac:chgData name="Connor Xu" userId="a2fa5610-7f85-41f8-9630-afc02cec4fa9" providerId="ADAL" clId="{F59C7676-B2FE-4807-8247-D8346AF20E55}" dt="2024-09-06T06:54:56.940" v="6082" actId="1076"/>
          <ac:spMkLst>
            <pc:docMk/>
            <pc:sldMk cId="1299380938" sldId="2147471727"/>
            <ac:spMk id="7" creationId="{07DE7E7D-A2CD-E798-38B9-A1BFFF37BECD}"/>
          </ac:spMkLst>
        </pc:spChg>
        <pc:graphicFrameChg chg="mod modGraphic">
          <ac:chgData name="Connor Xu" userId="a2fa5610-7f85-41f8-9630-afc02cec4fa9" providerId="ADAL" clId="{F59C7676-B2FE-4807-8247-D8346AF20E55}" dt="2024-09-11T01:19:51.729" v="9841" actId="1076"/>
          <ac:graphicFrameMkLst>
            <pc:docMk/>
            <pc:sldMk cId="1299380938" sldId="2147471727"/>
            <ac:graphicFrameMk id="4" creationId="{BD48924B-0496-CA2C-8D73-A47E59DB3E4C}"/>
          </ac:graphicFrameMkLst>
        </pc:graphicFrameChg>
      </pc:sldChg>
      <pc:sldChg chg="addSp delSp modSp add mod ord">
        <pc:chgData name="Connor Xu" userId="a2fa5610-7f85-41f8-9630-afc02cec4fa9" providerId="ADAL" clId="{F59C7676-B2FE-4807-8247-D8346AF20E55}" dt="2024-09-11T01:18:20.058" v="9753" actId="20577"/>
        <pc:sldMkLst>
          <pc:docMk/>
          <pc:sldMk cId="4217258338" sldId="2147471728"/>
        </pc:sldMkLst>
        <pc:spChg chg="mod">
          <ac:chgData name="Connor Xu" userId="a2fa5610-7f85-41f8-9630-afc02cec4fa9" providerId="ADAL" clId="{F59C7676-B2FE-4807-8247-D8346AF20E55}" dt="2024-09-06T06:31:28.601" v="4529"/>
          <ac:spMkLst>
            <pc:docMk/>
            <pc:sldMk cId="4217258338" sldId="2147471728"/>
            <ac:spMk id="2" creationId="{B068FAC4-4E35-4912-1E95-4C38FB047EE7}"/>
          </ac:spMkLst>
        </pc:spChg>
        <pc:spChg chg="mod">
          <ac:chgData name="Connor Xu" userId="a2fa5610-7f85-41f8-9630-afc02cec4fa9" providerId="ADAL" clId="{F59C7676-B2FE-4807-8247-D8346AF20E55}" dt="2024-09-09T22:04:21.699" v="6322" actId="20577"/>
          <ac:spMkLst>
            <pc:docMk/>
            <pc:sldMk cId="4217258338" sldId="2147471728"/>
            <ac:spMk id="3" creationId="{0B0E0EEE-AAF7-27D9-5453-D9B85663617E}"/>
          </ac:spMkLst>
        </pc:spChg>
        <pc:spChg chg="add mod">
          <ac:chgData name="Connor Xu" userId="a2fa5610-7f85-41f8-9630-afc02cec4fa9" providerId="ADAL" clId="{F59C7676-B2FE-4807-8247-D8346AF20E55}" dt="2024-09-06T06:31:24.208" v="4528"/>
          <ac:spMkLst>
            <pc:docMk/>
            <pc:sldMk cId="4217258338" sldId="2147471728"/>
            <ac:spMk id="5" creationId="{6BC474F3-AE19-BC6D-D22C-10150303DBB6}"/>
          </ac:spMkLst>
        </pc:spChg>
        <pc:graphicFrameChg chg="add del mod modGraphic">
          <ac:chgData name="Connor Xu" userId="a2fa5610-7f85-41f8-9630-afc02cec4fa9" providerId="ADAL" clId="{F59C7676-B2FE-4807-8247-D8346AF20E55}" dt="2024-09-06T06:43:30.450" v="5106" actId="478"/>
          <ac:graphicFrameMkLst>
            <pc:docMk/>
            <pc:sldMk cId="4217258338" sldId="2147471728"/>
            <ac:graphicFrameMk id="4" creationId="{BD48924B-0496-CA2C-8D73-A47E59DB3E4C}"/>
          </ac:graphicFrameMkLst>
        </pc:graphicFrameChg>
        <pc:graphicFrameChg chg="add mod modGraphic">
          <ac:chgData name="Connor Xu" userId="a2fa5610-7f85-41f8-9630-afc02cec4fa9" providerId="ADAL" clId="{F59C7676-B2FE-4807-8247-D8346AF20E55}" dt="2024-09-11T01:18:20.058" v="9753" actId="20577"/>
          <ac:graphicFrameMkLst>
            <pc:docMk/>
            <pc:sldMk cId="4217258338" sldId="2147471728"/>
            <ac:graphicFrameMk id="6" creationId="{129DB33C-6526-9061-799C-1BAE977CA781}"/>
          </ac:graphicFrameMkLst>
        </pc:graphicFrameChg>
      </pc:sldChg>
      <pc:sldChg chg="modSp mod">
        <pc:chgData name="Connor Xu" userId="a2fa5610-7f85-41f8-9630-afc02cec4fa9" providerId="ADAL" clId="{F59C7676-B2FE-4807-8247-D8346AF20E55}" dt="2024-09-11T00:58:10.950" v="7794" actId="207"/>
        <pc:sldMkLst>
          <pc:docMk/>
          <pc:sldMk cId="825503615" sldId="2147471730"/>
        </pc:sldMkLst>
        <pc:spChg chg="mod">
          <ac:chgData name="Connor Xu" userId="a2fa5610-7f85-41f8-9630-afc02cec4fa9" providerId="ADAL" clId="{F59C7676-B2FE-4807-8247-D8346AF20E55}" dt="2024-09-11T00:58:10.950" v="7794" actId="207"/>
          <ac:spMkLst>
            <pc:docMk/>
            <pc:sldMk cId="825503615" sldId="2147471730"/>
            <ac:spMk id="27" creationId="{F6F1DC71-5700-BE1F-240E-8AD3A4B17FDB}"/>
          </ac:spMkLst>
        </pc:spChg>
      </pc:sldChg>
      <pc:sldChg chg="addSp delSp modSp mod">
        <pc:chgData name="Connor Xu" userId="a2fa5610-7f85-41f8-9630-afc02cec4fa9" providerId="ADAL" clId="{F59C7676-B2FE-4807-8247-D8346AF20E55}" dt="2024-09-11T04:27:10.267" v="11862" actId="2711"/>
        <pc:sldMkLst>
          <pc:docMk/>
          <pc:sldMk cId="3245671790" sldId="2147471731"/>
        </pc:sldMkLst>
        <pc:spChg chg="del mod">
          <ac:chgData name="Connor Xu" userId="a2fa5610-7f85-41f8-9630-afc02cec4fa9" providerId="ADAL" clId="{F59C7676-B2FE-4807-8247-D8346AF20E55}" dt="2024-09-11T01:22:55.776" v="10172" actId="478"/>
          <ac:spMkLst>
            <pc:docMk/>
            <pc:sldMk cId="3245671790" sldId="2147471731"/>
            <ac:spMk id="2" creationId="{38277AC7-AA43-2B81-2D01-7EB17E127EB4}"/>
          </ac:spMkLst>
        </pc:spChg>
        <pc:spChg chg="mod">
          <ac:chgData name="Connor Xu" userId="a2fa5610-7f85-41f8-9630-afc02cec4fa9" providerId="ADAL" clId="{F59C7676-B2FE-4807-8247-D8346AF20E55}" dt="2024-09-11T01:21:13.408" v="10141" actId="948"/>
          <ac:spMkLst>
            <pc:docMk/>
            <pc:sldMk cId="3245671790" sldId="2147471731"/>
            <ac:spMk id="3" creationId="{4E77C82B-A30D-BF76-21ED-64C8FB2A72C0}"/>
          </ac:spMkLst>
        </pc:spChg>
        <pc:spChg chg="add del mod modVis">
          <ac:chgData name="Connor Xu" userId="a2fa5610-7f85-41f8-9630-afc02cec4fa9" providerId="ADAL" clId="{F59C7676-B2FE-4807-8247-D8346AF20E55}" dt="2024-09-11T01:20:29.580" v="9870"/>
          <ac:spMkLst>
            <pc:docMk/>
            <pc:sldMk cId="3245671790" sldId="2147471731"/>
            <ac:spMk id="4" creationId="{2B09E504-B62C-67D7-7CBB-CC244A2B2795}"/>
          </ac:spMkLst>
        </pc:spChg>
        <pc:spChg chg="add del mod modVis">
          <ac:chgData name="Connor Xu" userId="a2fa5610-7f85-41f8-9630-afc02cec4fa9" providerId="ADAL" clId="{F59C7676-B2FE-4807-8247-D8346AF20E55}" dt="2024-09-11T01:20:32.572" v="9917"/>
          <ac:spMkLst>
            <pc:docMk/>
            <pc:sldMk cId="3245671790" sldId="2147471731"/>
            <ac:spMk id="6" creationId="{20482E5A-C44D-7E58-CBFE-60DCE2866E5C}"/>
          </ac:spMkLst>
        </pc:spChg>
        <pc:spChg chg="add del mod modVis">
          <ac:chgData name="Connor Xu" userId="a2fa5610-7f85-41f8-9630-afc02cec4fa9" providerId="ADAL" clId="{F59C7676-B2FE-4807-8247-D8346AF20E55}" dt="2024-09-11T01:20:33.928" v="9949"/>
          <ac:spMkLst>
            <pc:docMk/>
            <pc:sldMk cId="3245671790" sldId="2147471731"/>
            <ac:spMk id="7" creationId="{15C1540E-72D4-3901-DEF6-CDD8CD2279F9}"/>
          </ac:spMkLst>
        </pc:spChg>
        <pc:spChg chg="add del mod modVis">
          <ac:chgData name="Connor Xu" userId="a2fa5610-7f85-41f8-9630-afc02cec4fa9" providerId="ADAL" clId="{F59C7676-B2FE-4807-8247-D8346AF20E55}" dt="2024-09-11T01:20:38.446" v="9980"/>
          <ac:spMkLst>
            <pc:docMk/>
            <pc:sldMk cId="3245671790" sldId="2147471731"/>
            <ac:spMk id="8" creationId="{35DC513A-D0D6-31B7-1A94-97E351B3B365}"/>
          </ac:spMkLst>
        </pc:spChg>
        <pc:spChg chg="add del mod modVis">
          <ac:chgData name="Connor Xu" userId="a2fa5610-7f85-41f8-9630-afc02cec4fa9" providerId="ADAL" clId="{F59C7676-B2FE-4807-8247-D8346AF20E55}" dt="2024-09-11T01:20:56.744" v="10018"/>
          <ac:spMkLst>
            <pc:docMk/>
            <pc:sldMk cId="3245671790" sldId="2147471731"/>
            <ac:spMk id="9" creationId="{8FCFEE19-8423-20AD-33EA-E9EDBDB31A02}"/>
          </ac:spMkLst>
        </pc:spChg>
        <pc:spChg chg="add del mod modVis">
          <ac:chgData name="Connor Xu" userId="a2fa5610-7f85-41f8-9630-afc02cec4fa9" providerId="ADAL" clId="{F59C7676-B2FE-4807-8247-D8346AF20E55}" dt="2024-09-11T01:21:03.351" v="10100"/>
          <ac:spMkLst>
            <pc:docMk/>
            <pc:sldMk cId="3245671790" sldId="2147471731"/>
            <ac:spMk id="10" creationId="{AF299E5A-DA3E-2C8F-2961-D9B5D0334763}"/>
          </ac:spMkLst>
        </pc:spChg>
        <pc:spChg chg="add del mod modVis">
          <ac:chgData name="Connor Xu" userId="a2fa5610-7f85-41f8-9630-afc02cec4fa9" providerId="ADAL" clId="{F59C7676-B2FE-4807-8247-D8346AF20E55}" dt="2024-09-11T01:21:13.439" v="10168"/>
          <ac:spMkLst>
            <pc:docMk/>
            <pc:sldMk cId="3245671790" sldId="2147471731"/>
            <ac:spMk id="11" creationId="{E220C568-BEF4-D60A-37A4-F1C34574BF5B}"/>
          </ac:spMkLst>
        </pc:spChg>
        <pc:spChg chg="add mod">
          <ac:chgData name="Connor Xu" userId="a2fa5610-7f85-41f8-9630-afc02cec4fa9" providerId="ADAL" clId="{F59C7676-B2FE-4807-8247-D8346AF20E55}" dt="2024-09-11T04:26:52.929" v="11861" actId="255"/>
          <ac:spMkLst>
            <pc:docMk/>
            <pc:sldMk cId="3245671790" sldId="2147471731"/>
            <ac:spMk id="12" creationId="{F88A5741-037C-A288-B53A-E6580A64EE59}"/>
          </ac:spMkLst>
        </pc:spChg>
        <pc:spChg chg="add mod">
          <ac:chgData name="Connor Xu" userId="a2fa5610-7f85-41f8-9630-afc02cec4fa9" providerId="ADAL" clId="{F59C7676-B2FE-4807-8247-D8346AF20E55}" dt="2024-09-11T04:26:52.929" v="11861" actId="255"/>
          <ac:spMkLst>
            <pc:docMk/>
            <pc:sldMk cId="3245671790" sldId="2147471731"/>
            <ac:spMk id="13" creationId="{97FB5172-298E-EB52-5A08-375B2BC5014E}"/>
          </ac:spMkLst>
        </pc:spChg>
        <pc:spChg chg="add mod">
          <ac:chgData name="Connor Xu" userId="a2fa5610-7f85-41f8-9630-afc02cec4fa9" providerId="ADAL" clId="{F59C7676-B2FE-4807-8247-D8346AF20E55}" dt="2024-09-11T04:26:52.929" v="11861" actId="255"/>
          <ac:spMkLst>
            <pc:docMk/>
            <pc:sldMk cId="3245671790" sldId="2147471731"/>
            <ac:spMk id="14" creationId="{0E26109E-7366-E8C8-80DB-F0E994469D7D}"/>
          </ac:spMkLst>
        </pc:spChg>
        <pc:spChg chg="add mod">
          <ac:chgData name="Connor Xu" userId="a2fa5610-7f85-41f8-9630-afc02cec4fa9" providerId="ADAL" clId="{F59C7676-B2FE-4807-8247-D8346AF20E55}" dt="2024-09-11T04:27:10.267" v="11862" actId="2711"/>
          <ac:spMkLst>
            <pc:docMk/>
            <pc:sldMk cId="3245671790" sldId="2147471731"/>
            <ac:spMk id="15" creationId="{87E33311-0447-993D-0A70-234C8EEDB745}"/>
          </ac:spMkLst>
        </pc:spChg>
        <pc:spChg chg="add mod">
          <ac:chgData name="Connor Xu" userId="a2fa5610-7f85-41f8-9630-afc02cec4fa9" providerId="ADAL" clId="{F59C7676-B2FE-4807-8247-D8346AF20E55}" dt="2024-09-11T04:26:52.929" v="11861" actId="255"/>
          <ac:spMkLst>
            <pc:docMk/>
            <pc:sldMk cId="3245671790" sldId="2147471731"/>
            <ac:spMk id="16" creationId="{D5001462-ED48-DFE2-E7B8-AE78E1A9D6A5}"/>
          </ac:spMkLst>
        </pc:spChg>
        <pc:graphicFrameChg chg="add mod ord modVis">
          <ac:chgData name="Connor Xu" userId="a2fa5610-7f85-41f8-9630-afc02cec4fa9" providerId="ADAL" clId="{F59C7676-B2FE-4807-8247-D8346AF20E55}" dt="2024-09-11T01:21:13.439" v="10170"/>
          <ac:graphicFrameMkLst>
            <pc:docMk/>
            <pc:sldMk cId="3245671790" sldId="2147471731"/>
            <ac:graphicFrameMk id="5" creationId="{47FDE823-5559-5B2A-2D7C-29FED28A1668}"/>
          </ac:graphicFrameMkLst>
        </pc:graphicFrameChg>
      </pc:sldChg>
      <pc:sldMasterChg chg="addSp modSp mod">
        <pc:chgData name="Connor Xu" userId="a2fa5610-7f85-41f8-9630-afc02cec4fa9" providerId="ADAL" clId="{F59C7676-B2FE-4807-8247-D8346AF20E55}" dt="2024-09-11T02:56:32.990" v="11271" actId="1076"/>
        <pc:sldMasterMkLst>
          <pc:docMk/>
          <pc:sldMasterMk cId="3713331802" sldId="2147483670"/>
        </pc:sldMasterMkLst>
        <pc:spChg chg="add mod">
          <ac:chgData name="Connor Xu" userId="a2fa5610-7f85-41f8-9630-afc02cec4fa9" providerId="ADAL" clId="{F59C7676-B2FE-4807-8247-D8346AF20E55}" dt="2024-09-11T02:56:32.990" v="11271" actId="1076"/>
          <ac:spMkLst>
            <pc:docMk/>
            <pc:sldMasterMk cId="3713331802" sldId="2147483670"/>
            <ac:spMk id="5" creationId="{EC4C8ABF-22BF-94D3-FDDA-A9282A770A78}"/>
          </ac:spMkLst>
        </pc:spChg>
      </pc:sldMasterChg>
    </pc:docChg>
  </pc:docChgLst>
  <pc:docChgLst>
    <pc:chgData name="Connor Xu" userId="a2fa5610-7f85-41f8-9630-afc02cec4fa9" providerId="ADAL" clId="{57EAAC4B-D155-4C96-A5D6-9BC102C82EFF}"/>
    <pc:docChg chg="undo redo custSel addSld delSld modSld sldOrd modSection">
      <pc:chgData name="Connor Xu" userId="a2fa5610-7f85-41f8-9630-afc02cec4fa9" providerId="ADAL" clId="{57EAAC4B-D155-4C96-A5D6-9BC102C82EFF}" dt="2024-09-04T04:46:07.098" v="10345" actId="403"/>
      <pc:docMkLst>
        <pc:docMk/>
      </pc:docMkLst>
      <pc:sldChg chg="modSp del mod">
        <pc:chgData name="Connor Xu" userId="a2fa5610-7f85-41f8-9630-afc02cec4fa9" providerId="ADAL" clId="{57EAAC4B-D155-4C96-A5D6-9BC102C82EFF}" dt="2024-09-03T00:09:55.907" v="7399" actId="47"/>
        <pc:sldMkLst>
          <pc:docMk/>
          <pc:sldMk cId="3452808978" sldId="2147471352"/>
        </pc:sldMkLst>
        <pc:spChg chg="mod">
          <ac:chgData name="Connor Xu" userId="a2fa5610-7f85-41f8-9630-afc02cec4fa9" providerId="ADAL" clId="{57EAAC4B-D155-4C96-A5D6-9BC102C82EFF}" dt="2024-09-02T23:59:12.419" v="5740" actId="12"/>
          <ac:spMkLst>
            <pc:docMk/>
            <pc:sldMk cId="3452808978" sldId="2147471352"/>
            <ac:spMk id="11" creationId="{4A28240A-1CEA-57EF-CEEA-36C4AF9C9426}"/>
          </ac:spMkLst>
        </pc:spChg>
      </pc:sldChg>
      <pc:sldChg chg="modSp del mod">
        <pc:chgData name="Connor Xu" userId="a2fa5610-7f85-41f8-9630-afc02cec4fa9" providerId="ADAL" clId="{57EAAC4B-D155-4C96-A5D6-9BC102C82EFF}" dt="2024-09-02T23:13:38.889" v="4049" actId="47"/>
        <pc:sldMkLst>
          <pc:docMk/>
          <pc:sldMk cId="2783805322" sldId="2147471357"/>
        </pc:sldMkLst>
        <pc:spChg chg="mod">
          <ac:chgData name="Connor Xu" userId="a2fa5610-7f85-41f8-9630-afc02cec4fa9" providerId="ADAL" clId="{57EAAC4B-D155-4C96-A5D6-9BC102C82EFF}" dt="2024-09-02T22:59:55.070" v="3653" actId="1076"/>
          <ac:spMkLst>
            <pc:docMk/>
            <pc:sldMk cId="2783805322" sldId="2147471357"/>
            <ac:spMk id="17" creationId="{848FDF65-1E88-8D25-E670-9B3E0B458CB5}"/>
          </ac:spMkLst>
        </pc:spChg>
      </pc:sldChg>
      <pc:sldChg chg="del">
        <pc:chgData name="Connor Xu" userId="a2fa5610-7f85-41f8-9630-afc02cec4fa9" providerId="ADAL" clId="{57EAAC4B-D155-4C96-A5D6-9BC102C82EFF}" dt="2024-09-02T22:49:08.889" v="3442" actId="47"/>
        <pc:sldMkLst>
          <pc:docMk/>
          <pc:sldMk cId="270764744" sldId="2147471363"/>
        </pc:sldMkLst>
      </pc:sldChg>
      <pc:sldChg chg="del">
        <pc:chgData name="Connor Xu" userId="a2fa5610-7f85-41f8-9630-afc02cec4fa9" providerId="ADAL" clId="{57EAAC4B-D155-4C96-A5D6-9BC102C82EFF}" dt="2024-09-02T23:44:00.508" v="4979" actId="47"/>
        <pc:sldMkLst>
          <pc:docMk/>
          <pc:sldMk cId="3301852112" sldId="2147471376"/>
        </pc:sldMkLst>
      </pc:sldChg>
      <pc:sldChg chg="delSp modSp del ord">
        <pc:chgData name="Connor Xu" userId="a2fa5610-7f85-41f8-9630-afc02cec4fa9" providerId="ADAL" clId="{57EAAC4B-D155-4C96-A5D6-9BC102C82EFF}" dt="2024-09-03T00:36:36.847" v="9133" actId="47"/>
        <pc:sldMkLst>
          <pc:docMk/>
          <pc:sldMk cId="3475717260" sldId="2147471377"/>
        </pc:sldMkLst>
        <pc:spChg chg="mod topLvl">
          <ac:chgData name="Connor Xu" userId="a2fa5610-7f85-41f8-9630-afc02cec4fa9" providerId="ADAL" clId="{57EAAC4B-D155-4C96-A5D6-9BC102C82EFF}" dt="2024-09-03T00:25:19.308" v="8807" actId="165"/>
          <ac:spMkLst>
            <pc:docMk/>
            <pc:sldMk cId="3475717260" sldId="2147471377"/>
            <ac:spMk id="6" creationId="{AA7CADB6-8D71-C2A6-11A2-437739CC8021}"/>
          </ac:spMkLst>
        </pc:spChg>
        <pc:spChg chg="mod topLvl">
          <ac:chgData name="Connor Xu" userId="a2fa5610-7f85-41f8-9630-afc02cec4fa9" providerId="ADAL" clId="{57EAAC4B-D155-4C96-A5D6-9BC102C82EFF}" dt="2024-09-03T00:25:19.308" v="8807" actId="165"/>
          <ac:spMkLst>
            <pc:docMk/>
            <pc:sldMk cId="3475717260" sldId="2147471377"/>
            <ac:spMk id="12" creationId="{28F2B60D-B3EC-421E-E62D-56EC61D8D9D0}"/>
          </ac:spMkLst>
        </pc:spChg>
        <pc:spChg chg="mod topLvl">
          <ac:chgData name="Connor Xu" userId="a2fa5610-7f85-41f8-9630-afc02cec4fa9" providerId="ADAL" clId="{57EAAC4B-D155-4C96-A5D6-9BC102C82EFF}" dt="2024-09-03T00:25:19.308" v="8807" actId="165"/>
          <ac:spMkLst>
            <pc:docMk/>
            <pc:sldMk cId="3475717260" sldId="2147471377"/>
            <ac:spMk id="13" creationId="{2A5C90A6-8A02-D185-E557-350E73368E37}"/>
          </ac:spMkLst>
        </pc:spChg>
        <pc:spChg chg="mod topLvl">
          <ac:chgData name="Connor Xu" userId="a2fa5610-7f85-41f8-9630-afc02cec4fa9" providerId="ADAL" clId="{57EAAC4B-D155-4C96-A5D6-9BC102C82EFF}" dt="2024-09-03T00:25:19.308" v="8807" actId="165"/>
          <ac:spMkLst>
            <pc:docMk/>
            <pc:sldMk cId="3475717260" sldId="2147471377"/>
            <ac:spMk id="14" creationId="{7087455B-BBF9-F747-B9E5-128A4829B018}"/>
          </ac:spMkLst>
        </pc:spChg>
        <pc:spChg chg="mod topLvl">
          <ac:chgData name="Connor Xu" userId="a2fa5610-7f85-41f8-9630-afc02cec4fa9" providerId="ADAL" clId="{57EAAC4B-D155-4C96-A5D6-9BC102C82EFF}" dt="2024-09-03T00:25:19.308" v="8807" actId="165"/>
          <ac:spMkLst>
            <pc:docMk/>
            <pc:sldMk cId="3475717260" sldId="2147471377"/>
            <ac:spMk id="15" creationId="{B1EE1565-CFBB-DA1A-B625-47DA12652B38}"/>
          </ac:spMkLst>
        </pc:spChg>
        <pc:spChg chg="mod topLvl">
          <ac:chgData name="Connor Xu" userId="a2fa5610-7f85-41f8-9630-afc02cec4fa9" providerId="ADAL" clId="{57EAAC4B-D155-4C96-A5D6-9BC102C82EFF}" dt="2024-09-03T00:25:19.308" v="8807" actId="165"/>
          <ac:spMkLst>
            <pc:docMk/>
            <pc:sldMk cId="3475717260" sldId="2147471377"/>
            <ac:spMk id="20" creationId="{3CD6E784-33BB-E2FD-D7E3-41147B98A3AB}"/>
          </ac:spMkLst>
        </pc:spChg>
        <pc:spChg chg="mod topLvl">
          <ac:chgData name="Connor Xu" userId="a2fa5610-7f85-41f8-9630-afc02cec4fa9" providerId="ADAL" clId="{57EAAC4B-D155-4C96-A5D6-9BC102C82EFF}" dt="2024-09-03T00:25:19.308" v="8807" actId="165"/>
          <ac:spMkLst>
            <pc:docMk/>
            <pc:sldMk cId="3475717260" sldId="2147471377"/>
            <ac:spMk id="21" creationId="{7F5E5FBD-EB7C-9183-2E5B-CDA092C38414}"/>
          </ac:spMkLst>
        </pc:spChg>
        <pc:spChg chg="mod topLvl">
          <ac:chgData name="Connor Xu" userId="a2fa5610-7f85-41f8-9630-afc02cec4fa9" providerId="ADAL" clId="{57EAAC4B-D155-4C96-A5D6-9BC102C82EFF}" dt="2024-09-03T00:25:19.308" v="8807" actId="165"/>
          <ac:spMkLst>
            <pc:docMk/>
            <pc:sldMk cId="3475717260" sldId="2147471377"/>
            <ac:spMk id="22" creationId="{6C4559D0-AC7A-69F7-99CD-68527905A671}"/>
          </ac:spMkLst>
        </pc:spChg>
        <pc:spChg chg="mod topLvl">
          <ac:chgData name="Connor Xu" userId="a2fa5610-7f85-41f8-9630-afc02cec4fa9" providerId="ADAL" clId="{57EAAC4B-D155-4C96-A5D6-9BC102C82EFF}" dt="2024-09-03T00:25:19.308" v="8807" actId="165"/>
          <ac:spMkLst>
            <pc:docMk/>
            <pc:sldMk cId="3475717260" sldId="2147471377"/>
            <ac:spMk id="25" creationId="{B962CC20-081C-EBB9-D02E-71120F4558CA}"/>
          </ac:spMkLst>
        </pc:spChg>
        <pc:spChg chg="mod topLvl">
          <ac:chgData name="Connor Xu" userId="a2fa5610-7f85-41f8-9630-afc02cec4fa9" providerId="ADAL" clId="{57EAAC4B-D155-4C96-A5D6-9BC102C82EFF}" dt="2024-09-03T00:25:19.308" v="8807" actId="165"/>
          <ac:spMkLst>
            <pc:docMk/>
            <pc:sldMk cId="3475717260" sldId="2147471377"/>
            <ac:spMk id="26" creationId="{54BF8A41-B3BA-DFFF-F894-EC7A09179A38}"/>
          </ac:spMkLst>
        </pc:spChg>
        <pc:spChg chg="mod topLvl">
          <ac:chgData name="Connor Xu" userId="a2fa5610-7f85-41f8-9630-afc02cec4fa9" providerId="ADAL" clId="{57EAAC4B-D155-4C96-A5D6-9BC102C82EFF}" dt="2024-09-03T00:25:19.308" v="8807" actId="165"/>
          <ac:spMkLst>
            <pc:docMk/>
            <pc:sldMk cId="3475717260" sldId="2147471377"/>
            <ac:spMk id="27" creationId="{5D86B579-3199-E2BC-F12C-BAB8D5C8BD6E}"/>
          </ac:spMkLst>
        </pc:spChg>
        <pc:spChg chg="mod topLvl">
          <ac:chgData name="Connor Xu" userId="a2fa5610-7f85-41f8-9630-afc02cec4fa9" providerId="ADAL" clId="{57EAAC4B-D155-4C96-A5D6-9BC102C82EFF}" dt="2024-09-03T00:25:19.308" v="8807" actId="165"/>
          <ac:spMkLst>
            <pc:docMk/>
            <pc:sldMk cId="3475717260" sldId="2147471377"/>
            <ac:spMk id="28" creationId="{AD9D1637-E32B-6EAB-C459-5578F1C0B013}"/>
          </ac:spMkLst>
        </pc:spChg>
        <pc:spChg chg="mod topLvl">
          <ac:chgData name="Connor Xu" userId="a2fa5610-7f85-41f8-9630-afc02cec4fa9" providerId="ADAL" clId="{57EAAC4B-D155-4C96-A5D6-9BC102C82EFF}" dt="2024-09-03T00:25:19.308" v="8807" actId="165"/>
          <ac:spMkLst>
            <pc:docMk/>
            <pc:sldMk cId="3475717260" sldId="2147471377"/>
            <ac:spMk id="29" creationId="{E6FD2ABC-8A64-0AEE-6D7D-4F9AFCC70491}"/>
          </ac:spMkLst>
        </pc:spChg>
        <pc:spChg chg="mod topLvl">
          <ac:chgData name="Connor Xu" userId="a2fa5610-7f85-41f8-9630-afc02cec4fa9" providerId="ADAL" clId="{57EAAC4B-D155-4C96-A5D6-9BC102C82EFF}" dt="2024-09-03T00:25:19.308" v="8807" actId="165"/>
          <ac:spMkLst>
            <pc:docMk/>
            <pc:sldMk cId="3475717260" sldId="2147471377"/>
            <ac:spMk id="30" creationId="{F1EF498E-9E85-49DC-824A-A6E7F7E314F4}"/>
          </ac:spMkLst>
        </pc:spChg>
        <pc:spChg chg="mod topLvl">
          <ac:chgData name="Connor Xu" userId="a2fa5610-7f85-41f8-9630-afc02cec4fa9" providerId="ADAL" clId="{57EAAC4B-D155-4C96-A5D6-9BC102C82EFF}" dt="2024-09-03T00:25:19.308" v="8807" actId="165"/>
          <ac:spMkLst>
            <pc:docMk/>
            <pc:sldMk cId="3475717260" sldId="2147471377"/>
            <ac:spMk id="31" creationId="{E31297F2-B661-D1D4-0FEA-2103C6E4681E}"/>
          </ac:spMkLst>
        </pc:spChg>
        <pc:spChg chg="mod topLvl">
          <ac:chgData name="Connor Xu" userId="a2fa5610-7f85-41f8-9630-afc02cec4fa9" providerId="ADAL" clId="{57EAAC4B-D155-4C96-A5D6-9BC102C82EFF}" dt="2024-09-03T00:25:19.308" v="8807" actId="165"/>
          <ac:spMkLst>
            <pc:docMk/>
            <pc:sldMk cId="3475717260" sldId="2147471377"/>
            <ac:spMk id="33" creationId="{90C8ED3A-56F3-9E01-9947-0589D6B3F85A}"/>
          </ac:spMkLst>
        </pc:spChg>
        <pc:spChg chg="mod topLvl">
          <ac:chgData name="Connor Xu" userId="a2fa5610-7f85-41f8-9630-afc02cec4fa9" providerId="ADAL" clId="{57EAAC4B-D155-4C96-A5D6-9BC102C82EFF}" dt="2024-09-03T00:25:19.308" v="8807" actId="165"/>
          <ac:spMkLst>
            <pc:docMk/>
            <pc:sldMk cId="3475717260" sldId="2147471377"/>
            <ac:spMk id="34" creationId="{8869F1BD-BCBF-30AE-91E5-6C7327041B9A}"/>
          </ac:spMkLst>
        </pc:spChg>
        <pc:spChg chg="mod topLvl">
          <ac:chgData name="Connor Xu" userId="a2fa5610-7f85-41f8-9630-afc02cec4fa9" providerId="ADAL" clId="{57EAAC4B-D155-4C96-A5D6-9BC102C82EFF}" dt="2024-09-03T00:25:19.308" v="8807" actId="165"/>
          <ac:spMkLst>
            <pc:docMk/>
            <pc:sldMk cId="3475717260" sldId="2147471377"/>
            <ac:spMk id="35" creationId="{F105350F-F9FA-A54B-4F7D-44DED0DE44A5}"/>
          </ac:spMkLst>
        </pc:spChg>
        <pc:spChg chg="mod topLvl">
          <ac:chgData name="Connor Xu" userId="a2fa5610-7f85-41f8-9630-afc02cec4fa9" providerId="ADAL" clId="{57EAAC4B-D155-4C96-A5D6-9BC102C82EFF}" dt="2024-09-03T00:25:19.308" v="8807" actId="165"/>
          <ac:spMkLst>
            <pc:docMk/>
            <pc:sldMk cId="3475717260" sldId="2147471377"/>
            <ac:spMk id="36" creationId="{1EAE1547-AB5B-1B97-A969-4425078BACAB}"/>
          </ac:spMkLst>
        </pc:spChg>
        <pc:spChg chg="mod topLvl">
          <ac:chgData name="Connor Xu" userId="a2fa5610-7f85-41f8-9630-afc02cec4fa9" providerId="ADAL" clId="{57EAAC4B-D155-4C96-A5D6-9BC102C82EFF}" dt="2024-09-03T00:25:19.308" v="8807" actId="165"/>
          <ac:spMkLst>
            <pc:docMk/>
            <pc:sldMk cId="3475717260" sldId="2147471377"/>
            <ac:spMk id="37" creationId="{ADDC3948-C5A1-F39F-4B93-29D918EDBE91}"/>
          </ac:spMkLst>
        </pc:spChg>
        <pc:spChg chg="mod topLvl">
          <ac:chgData name="Connor Xu" userId="a2fa5610-7f85-41f8-9630-afc02cec4fa9" providerId="ADAL" clId="{57EAAC4B-D155-4C96-A5D6-9BC102C82EFF}" dt="2024-09-03T00:25:19.308" v="8807" actId="165"/>
          <ac:spMkLst>
            <pc:docMk/>
            <pc:sldMk cId="3475717260" sldId="2147471377"/>
            <ac:spMk id="38" creationId="{1E565550-6DFF-C044-A4DF-5F5B7EAA1EB2}"/>
          </ac:spMkLst>
        </pc:spChg>
        <pc:spChg chg="mod topLvl">
          <ac:chgData name="Connor Xu" userId="a2fa5610-7f85-41f8-9630-afc02cec4fa9" providerId="ADAL" clId="{57EAAC4B-D155-4C96-A5D6-9BC102C82EFF}" dt="2024-09-03T00:25:19.308" v="8807" actId="165"/>
          <ac:spMkLst>
            <pc:docMk/>
            <pc:sldMk cId="3475717260" sldId="2147471377"/>
            <ac:spMk id="54" creationId="{5293A127-AB45-5BCA-B59C-340416F2D811}"/>
          </ac:spMkLst>
        </pc:spChg>
        <pc:spChg chg="mod topLvl">
          <ac:chgData name="Connor Xu" userId="a2fa5610-7f85-41f8-9630-afc02cec4fa9" providerId="ADAL" clId="{57EAAC4B-D155-4C96-A5D6-9BC102C82EFF}" dt="2024-09-03T00:25:19.308" v="8807" actId="165"/>
          <ac:spMkLst>
            <pc:docMk/>
            <pc:sldMk cId="3475717260" sldId="2147471377"/>
            <ac:spMk id="55" creationId="{C50011C5-9CE1-7A8C-4CC5-B36956E269DD}"/>
          </ac:spMkLst>
        </pc:spChg>
        <pc:spChg chg="mod topLvl">
          <ac:chgData name="Connor Xu" userId="a2fa5610-7f85-41f8-9630-afc02cec4fa9" providerId="ADAL" clId="{57EAAC4B-D155-4C96-A5D6-9BC102C82EFF}" dt="2024-09-03T00:25:19.308" v="8807" actId="165"/>
          <ac:spMkLst>
            <pc:docMk/>
            <pc:sldMk cId="3475717260" sldId="2147471377"/>
            <ac:spMk id="60" creationId="{5FFD24BB-73FE-826D-0B00-1D930BF66872}"/>
          </ac:spMkLst>
        </pc:spChg>
        <pc:grpChg chg="del">
          <ac:chgData name="Connor Xu" userId="a2fa5610-7f85-41f8-9630-afc02cec4fa9" providerId="ADAL" clId="{57EAAC4B-D155-4C96-A5D6-9BC102C82EFF}" dt="2024-09-03T00:25:19.308" v="8807" actId="165"/>
          <ac:grpSpMkLst>
            <pc:docMk/>
            <pc:sldMk cId="3475717260" sldId="2147471377"/>
            <ac:grpSpMk id="65" creationId="{B683EA10-22BC-48B2-F164-FF7A0C24125D}"/>
          </ac:grpSpMkLst>
        </pc:grpChg>
        <pc:cxnChg chg="mod topLvl">
          <ac:chgData name="Connor Xu" userId="a2fa5610-7f85-41f8-9630-afc02cec4fa9" providerId="ADAL" clId="{57EAAC4B-D155-4C96-A5D6-9BC102C82EFF}" dt="2024-09-03T00:25:19.308" v="8807" actId="165"/>
          <ac:cxnSpMkLst>
            <pc:docMk/>
            <pc:sldMk cId="3475717260" sldId="2147471377"/>
            <ac:cxnSpMk id="18" creationId="{2A5D29DB-40D6-3311-E6AA-7FC3DEF396C0}"/>
          </ac:cxnSpMkLst>
        </pc:cxnChg>
        <pc:cxnChg chg="mod topLvl">
          <ac:chgData name="Connor Xu" userId="a2fa5610-7f85-41f8-9630-afc02cec4fa9" providerId="ADAL" clId="{57EAAC4B-D155-4C96-A5D6-9BC102C82EFF}" dt="2024-09-03T00:25:19.308" v="8807" actId="165"/>
          <ac:cxnSpMkLst>
            <pc:docMk/>
            <pc:sldMk cId="3475717260" sldId="2147471377"/>
            <ac:cxnSpMk id="40" creationId="{C3543E6F-D992-356C-C022-7739D4D3F176}"/>
          </ac:cxnSpMkLst>
        </pc:cxnChg>
        <pc:cxnChg chg="mod topLvl">
          <ac:chgData name="Connor Xu" userId="a2fa5610-7f85-41f8-9630-afc02cec4fa9" providerId="ADAL" clId="{57EAAC4B-D155-4C96-A5D6-9BC102C82EFF}" dt="2024-09-03T00:25:19.308" v="8807" actId="165"/>
          <ac:cxnSpMkLst>
            <pc:docMk/>
            <pc:sldMk cId="3475717260" sldId="2147471377"/>
            <ac:cxnSpMk id="42" creationId="{45169AC3-4F04-AD64-D478-84BF8DD74D3B}"/>
          </ac:cxnSpMkLst>
        </pc:cxnChg>
        <pc:cxnChg chg="mod topLvl">
          <ac:chgData name="Connor Xu" userId="a2fa5610-7f85-41f8-9630-afc02cec4fa9" providerId="ADAL" clId="{57EAAC4B-D155-4C96-A5D6-9BC102C82EFF}" dt="2024-09-03T00:25:19.308" v="8807" actId="165"/>
          <ac:cxnSpMkLst>
            <pc:docMk/>
            <pc:sldMk cId="3475717260" sldId="2147471377"/>
            <ac:cxnSpMk id="44" creationId="{DC2FAF77-8D06-916D-584D-C7C3D34A9A3F}"/>
          </ac:cxnSpMkLst>
        </pc:cxnChg>
        <pc:cxnChg chg="mod topLvl">
          <ac:chgData name="Connor Xu" userId="a2fa5610-7f85-41f8-9630-afc02cec4fa9" providerId="ADAL" clId="{57EAAC4B-D155-4C96-A5D6-9BC102C82EFF}" dt="2024-09-03T00:25:19.308" v="8807" actId="165"/>
          <ac:cxnSpMkLst>
            <pc:docMk/>
            <pc:sldMk cId="3475717260" sldId="2147471377"/>
            <ac:cxnSpMk id="46" creationId="{CF5D1EF1-85E4-3AAB-297D-1DAC6B0C47AF}"/>
          </ac:cxnSpMkLst>
        </pc:cxnChg>
        <pc:cxnChg chg="mod topLvl">
          <ac:chgData name="Connor Xu" userId="a2fa5610-7f85-41f8-9630-afc02cec4fa9" providerId="ADAL" clId="{57EAAC4B-D155-4C96-A5D6-9BC102C82EFF}" dt="2024-09-03T00:25:19.308" v="8807" actId="165"/>
          <ac:cxnSpMkLst>
            <pc:docMk/>
            <pc:sldMk cId="3475717260" sldId="2147471377"/>
            <ac:cxnSpMk id="48" creationId="{120C150A-2C9B-8CE2-86C1-965EEE69EF02}"/>
          </ac:cxnSpMkLst>
        </pc:cxnChg>
        <pc:cxnChg chg="mod topLvl">
          <ac:chgData name="Connor Xu" userId="a2fa5610-7f85-41f8-9630-afc02cec4fa9" providerId="ADAL" clId="{57EAAC4B-D155-4C96-A5D6-9BC102C82EFF}" dt="2024-09-03T00:25:19.308" v="8807" actId="165"/>
          <ac:cxnSpMkLst>
            <pc:docMk/>
            <pc:sldMk cId="3475717260" sldId="2147471377"/>
            <ac:cxnSpMk id="50" creationId="{A6943082-14C1-195A-C9AC-95A4A2C592A2}"/>
          </ac:cxnSpMkLst>
        </pc:cxnChg>
        <pc:cxnChg chg="mod topLvl">
          <ac:chgData name="Connor Xu" userId="a2fa5610-7f85-41f8-9630-afc02cec4fa9" providerId="ADAL" clId="{57EAAC4B-D155-4C96-A5D6-9BC102C82EFF}" dt="2024-09-03T00:25:19.308" v="8807" actId="165"/>
          <ac:cxnSpMkLst>
            <pc:docMk/>
            <pc:sldMk cId="3475717260" sldId="2147471377"/>
            <ac:cxnSpMk id="52" creationId="{4458BD9D-76F6-7D35-A761-F36450ECEDCA}"/>
          </ac:cxnSpMkLst>
        </pc:cxnChg>
        <pc:cxnChg chg="mod topLvl">
          <ac:chgData name="Connor Xu" userId="a2fa5610-7f85-41f8-9630-afc02cec4fa9" providerId="ADAL" clId="{57EAAC4B-D155-4C96-A5D6-9BC102C82EFF}" dt="2024-09-03T00:25:19.308" v="8807" actId="165"/>
          <ac:cxnSpMkLst>
            <pc:docMk/>
            <pc:sldMk cId="3475717260" sldId="2147471377"/>
            <ac:cxnSpMk id="62" creationId="{B36BF2B7-D024-29CD-86BF-2BB00C007EE0}"/>
          </ac:cxnSpMkLst>
        </pc:cxnChg>
      </pc:sldChg>
      <pc:sldChg chg="addSp delSp modSp add mod">
        <pc:chgData name="Connor Xu" userId="a2fa5610-7f85-41f8-9630-afc02cec4fa9" providerId="ADAL" clId="{57EAAC4B-D155-4C96-A5D6-9BC102C82EFF}" dt="2024-09-03T03:02:08.312" v="10126" actId="20577"/>
        <pc:sldMkLst>
          <pc:docMk/>
          <pc:sldMk cId="806101404" sldId="2147471590"/>
        </pc:sldMkLst>
        <pc:spChg chg="del">
          <ac:chgData name="Connor Xu" userId="a2fa5610-7f85-41f8-9630-afc02cec4fa9" providerId="ADAL" clId="{57EAAC4B-D155-4C96-A5D6-9BC102C82EFF}" dt="2024-09-03T00:18:57.705" v="7429" actId="478"/>
          <ac:spMkLst>
            <pc:docMk/>
            <pc:sldMk cId="806101404" sldId="2147471590"/>
            <ac:spMk id="2" creationId="{D1B4AD01-A264-7AF4-0244-2E030CA2D1D7}"/>
          </ac:spMkLst>
        </pc:spChg>
        <pc:spChg chg="del">
          <ac:chgData name="Connor Xu" userId="a2fa5610-7f85-41f8-9630-afc02cec4fa9" providerId="ADAL" clId="{57EAAC4B-D155-4C96-A5D6-9BC102C82EFF}" dt="2024-09-03T00:12:01.140" v="7417" actId="478"/>
          <ac:spMkLst>
            <pc:docMk/>
            <pc:sldMk cId="806101404" sldId="2147471590"/>
            <ac:spMk id="3" creationId="{610FAD7A-FEBE-E0A3-52D5-AFC6C0F958E0}"/>
          </ac:spMkLst>
        </pc:spChg>
        <pc:spChg chg="del mod topLvl">
          <ac:chgData name="Connor Xu" userId="a2fa5610-7f85-41f8-9630-afc02cec4fa9" providerId="ADAL" clId="{57EAAC4B-D155-4C96-A5D6-9BC102C82EFF}" dt="2024-09-03T00:25:26.494" v="8809" actId="478"/>
          <ac:spMkLst>
            <pc:docMk/>
            <pc:sldMk cId="806101404" sldId="2147471590"/>
            <ac:spMk id="5" creationId="{73675595-3E1C-30F3-54B5-E7F4E65E6BDB}"/>
          </ac:spMkLst>
        </pc:spChg>
        <pc:spChg chg="mod">
          <ac:chgData name="Connor Xu" userId="a2fa5610-7f85-41f8-9630-afc02cec4fa9" providerId="ADAL" clId="{57EAAC4B-D155-4C96-A5D6-9BC102C82EFF}" dt="2024-09-03T00:21:36.203" v="8371" actId="20577"/>
          <ac:spMkLst>
            <pc:docMk/>
            <pc:sldMk cId="806101404" sldId="2147471590"/>
            <ac:spMk id="6" creationId="{DB54B736-1D41-72F0-AD0A-F40BAFDDBDB5}"/>
          </ac:spMkLst>
        </pc:spChg>
        <pc:spChg chg="mod">
          <ac:chgData name="Connor Xu" userId="a2fa5610-7f85-41f8-9630-afc02cec4fa9" providerId="ADAL" clId="{57EAAC4B-D155-4C96-A5D6-9BC102C82EFF}" dt="2024-09-03T00:22:59.732" v="8731" actId="14100"/>
          <ac:spMkLst>
            <pc:docMk/>
            <pc:sldMk cId="806101404" sldId="2147471590"/>
            <ac:spMk id="7" creationId="{26A7116D-1600-A1EB-4994-71E15A6E91CB}"/>
          </ac:spMkLst>
        </pc:spChg>
        <pc:spChg chg="mod">
          <ac:chgData name="Connor Xu" userId="a2fa5610-7f85-41f8-9630-afc02cec4fa9" providerId="ADAL" clId="{57EAAC4B-D155-4C96-A5D6-9BC102C82EFF}" dt="2024-09-03T00:23:14.744" v="8738" actId="165"/>
          <ac:spMkLst>
            <pc:docMk/>
            <pc:sldMk cId="806101404" sldId="2147471590"/>
            <ac:spMk id="10" creationId="{3540FE6E-F224-EC2D-E921-6C1CD8AC7B67}"/>
          </ac:spMkLst>
        </pc:spChg>
        <pc:spChg chg="mod">
          <ac:chgData name="Connor Xu" userId="a2fa5610-7f85-41f8-9630-afc02cec4fa9" providerId="ADAL" clId="{57EAAC4B-D155-4C96-A5D6-9BC102C82EFF}" dt="2024-09-03T00:23:14.744" v="8738" actId="165"/>
          <ac:spMkLst>
            <pc:docMk/>
            <pc:sldMk cId="806101404" sldId="2147471590"/>
            <ac:spMk id="11" creationId="{44CC9895-D313-7A38-4CB5-3E39787D4F73}"/>
          </ac:spMkLst>
        </pc:spChg>
        <pc:spChg chg="mod">
          <ac:chgData name="Connor Xu" userId="a2fa5610-7f85-41f8-9630-afc02cec4fa9" providerId="ADAL" clId="{57EAAC4B-D155-4C96-A5D6-9BC102C82EFF}" dt="2024-09-03T00:23:14.744" v="8738" actId="165"/>
          <ac:spMkLst>
            <pc:docMk/>
            <pc:sldMk cId="806101404" sldId="2147471590"/>
            <ac:spMk id="13" creationId="{E21BE4B8-F5DC-B602-5648-3B86F3DFFFC1}"/>
          </ac:spMkLst>
        </pc:spChg>
        <pc:spChg chg="mod">
          <ac:chgData name="Connor Xu" userId="a2fa5610-7f85-41f8-9630-afc02cec4fa9" providerId="ADAL" clId="{57EAAC4B-D155-4C96-A5D6-9BC102C82EFF}" dt="2024-09-03T00:23:14.744" v="8738" actId="165"/>
          <ac:spMkLst>
            <pc:docMk/>
            <pc:sldMk cId="806101404" sldId="2147471590"/>
            <ac:spMk id="14" creationId="{348825D2-6E30-F19A-A877-5BD0C4B3B302}"/>
          </ac:spMkLst>
        </pc:spChg>
        <pc:spChg chg="del mod topLvl">
          <ac:chgData name="Connor Xu" userId="a2fa5610-7f85-41f8-9630-afc02cec4fa9" providerId="ADAL" clId="{57EAAC4B-D155-4C96-A5D6-9BC102C82EFF}" dt="2024-09-03T00:23:24.400" v="8743" actId="478"/>
          <ac:spMkLst>
            <pc:docMk/>
            <pc:sldMk cId="806101404" sldId="2147471590"/>
            <ac:spMk id="15" creationId="{6DEAB0E0-5CB7-B76D-41EE-9C2A0E544DEA}"/>
          </ac:spMkLst>
        </pc:spChg>
        <pc:spChg chg="del mod">
          <ac:chgData name="Connor Xu" userId="a2fa5610-7f85-41f8-9630-afc02cec4fa9" providerId="ADAL" clId="{57EAAC4B-D155-4C96-A5D6-9BC102C82EFF}" dt="2024-09-03T00:23:08.239" v="8735" actId="478"/>
          <ac:spMkLst>
            <pc:docMk/>
            <pc:sldMk cId="806101404" sldId="2147471590"/>
            <ac:spMk id="19" creationId="{32AFC931-C78A-72AC-D5EB-F35E5E523EB0}"/>
          </ac:spMkLst>
        </pc:spChg>
        <pc:spChg chg="mod">
          <ac:chgData name="Connor Xu" userId="a2fa5610-7f85-41f8-9630-afc02cec4fa9" providerId="ADAL" clId="{57EAAC4B-D155-4C96-A5D6-9BC102C82EFF}" dt="2024-09-03T00:23:14.744" v="8738" actId="165"/>
          <ac:spMkLst>
            <pc:docMk/>
            <pc:sldMk cId="806101404" sldId="2147471590"/>
            <ac:spMk id="21" creationId="{F2400877-89AE-0DB3-B8AF-42FBD55F3D84}"/>
          </ac:spMkLst>
        </pc:spChg>
        <pc:spChg chg="mod">
          <ac:chgData name="Connor Xu" userId="a2fa5610-7f85-41f8-9630-afc02cec4fa9" providerId="ADAL" clId="{57EAAC4B-D155-4C96-A5D6-9BC102C82EFF}" dt="2024-09-03T00:23:14.744" v="8738" actId="165"/>
          <ac:spMkLst>
            <pc:docMk/>
            <pc:sldMk cId="806101404" sldId="2147471590"/>
            <ac:spMk id="22" creationId="{4E61A79F-339E-D907-50C8-2AE11099AEE2}"/>
          </ac:spMkLst>
        </pc:spChg>
        <pc:spChg chg="mod">
          <ac:chgData name="Connor Xu" userId="a2fa5610-7f85-41f8-9630-afc02cec4fa9" providerId="ADAL" clId="{57EAAC4B-D155-4C96-A5D6-9BC102C82EFF}" dt="2024-09-03T00:23:14.744" v="8738" actId="165"/>
          <ac:spMkLst>
            <pc:docMk/>
            <pc:sldMk cId="806101404" sldId="2147471590"/>
            <ac:spMk id="24" creationId="{E21545B2-D486-9399-A470-07B45E7F35A2}"/>
          </ac:spMkLst>
        </pc:spChg>
        <pc:spChg chg="mod">
          <ac:chgData name="Connor Xu" userId="a2fa5610-7f85-41f8-9630-afc02cec4fa9" providerId="ADAL" clId="{57EAAC4B-D155-4C96-A5D6-9BC102C82EFF}" dt="2024-09-03T00:23:14.744" v="8738" actId="165"/>
          <ac:spMkLst>
            <pc:docMk/>
            <pc:sldMk cId="806101404" sldId="2147471590"/>
            <ac:spMk id="25" creationId="{AA2D13A8-D692-E38F-889D-FC5C97739B7A}"/>
          </ac:spMkLst>
        </pc:spChg>
        <pc:spChg chg="mod">
          <ac:chgData name="Connor Xu" userId="a2fa5610-7f85-41f8-9630-afc02cec4fa9" providerId="ADAL" clId="{57EAAC4B-D155-4C96-A5D6-9BC102C82EFF}" dt="2024-09-03T00:22:56.387" v="8729" actId="1076"/>
          <ac:spMkLst>
            <pc:docMk/>
            <pc:sldMk cId="806101404" sldId="2147471590"/>
            <ac:spMk id="28" creationId="{6FE5B717-68E7-B5A6-8A42-7B74B0E6ECE2}"/>
          </ac:spMkLst>
        </pc:spChg>
        <pc:spChg chg="add mod">
          <ac:chgData name="Connor Xu" userId="a2fa5610-7f85-41f8-9630-afc02cec4fa9" providerId="ADAL" clId="{57EAAC4B-D155-4C96-A5D6-9BC102C82EFF}" dt="2024-09-03T00:20:58.631" v="8156" actId="20577"/>
          <ac:spMkLst>
            <pc:docMk/>
            <pc:sldMk cId="806101404" sldId="2147471590"/>
            <ac:spMk id="29" creationId="{2CD2714C-41C8-65F4-01D2-A1F2353866B7}"/>
          </ac:spMkLst>
        </pc:spChg>
        <pc:spChg chg="del">
          <ac:chgData name="Connor Xu" userId="a2fa5610-7f85-41f8-9630-afc02cec4fa9" providerId="ADAL" clId="{57EAAC4B-D155-4C96-A5D6-9BC102C82EFF}" dt="2024-09-03T00:19:09.935" v="7432" actId="478"/>
          <ac:spMkLst>
            <pc:docMk/>
            <pc:sldMk cId="806101404" sldId="2147471590"/>
            <ac:spMk id="31" creationId="{A31920F2-AE00-C02E-9941-2915083223F8}"/>
          </ac:spMkLst>
        </pc:spChg>
        <pc:spChg chg="del mod">
          <ac:chgData name="Connor Xu" userId="a2fa5610-7f85-41f8-9630-afc02cec4fa9" providerId="ADAL" clId="{57EAAC4B-D155-4C96-A5D6-9BC102C82EFF}" dt="2024-09-03T00:19:10.858" v="7433" actId="478"/>
          <ac:spMkLst>
            <pc:docMk/>
            <pc:sldMk cId="806101404" sldId="2147471590"/>
            <ac:spMk id="32" creationId="{DE3A8734-927E-3289-D2D2-5653A00E8E11}"/>
          </ac:spMkLst>
        </pc:spChg>
        <pc:spChg chg="add mod">
          <ac:chgData name="Connor Xu" userId="a2fa5610-7f85-41f8-9630-afc02cec4fa9" providerId="ADAL" clId="{57EAAC4B-D155-4C96-A5D6-9BC102C82EFF}" dt="2024-09-03T00:29:33.602" v="8825" actId="553"/>
          <ac:spMkLst>
            <pc:docMk/>
            <pc:sldMk cId="806101404" sldId="2147471590"/>
            <ac:spMk id="33" creationId="{3836A8CB-C90C-1E04-6680-71F89E7CA9D3}"/>
          </ac:spMkLst>
        </pc:spChg>
        <pc:spChg chg="add mod">
          <ac:chgData name="Connor Xu" userId="a2fa5610-7f85-41f8-9630-afc02cec4fa9" providerId="ADAL" clId="{57EAAC4B-D155-4C96-A5D6-9BC102C82EFF}" dt="2024-09-03T00:25:24.998" v="8808"/>
          <ac:spMkLst>
            <pc:docMk/>
            <pc:sldMk cId="806101404" sldId="2147471590"/>
            <ac:spMk id="35" creationId="{7D52AFD3-FD18-65FF-ACCE-B0AAF2765916}"/>
          </ac:spMkLst>
        </pc:spChg>
        <pc:spChg chg="add mod">
          <ac:chgData name="Connor Xu" userId="a2fa5610-7f85-41f8-9630-afc02cec4fa9" providerId="ADAL" clId="{57EAAC4B-D155-4C96-A5D6-9BC102C82EFF}" dt="2024-09-03T00:25:24.998" v="8808"/>
          <ac:spMkLst>
            <pc:docMk/>
            <pc:sldMk cId="806101404" sldId="2147471590"/>
            <ac:spMk id="36" creationId="{1D298BEA-FEC0-70B6-097A-3015165ADC94}"/>
          </ac:spMkLst>
        </pc:spChg>
        <pc:spChg chg="add mod">
          <ac:chgData name="Connor Xu" userId="a2fa5610-7f85-41f8-9630-afc02cec4fa9" providerId="ADAL" clId="{57EAAC4B-D155-4C96-A5D6-9BC102C82EFF}" dt="2024-09-03T00:25:24.998" v="8808"/>
          <ac:spMkLst>
            <pc:docMk/>
            <pc:sldMk cId="806101404" sldId="2147471590"/>
            <ac:spMk id="37" creationId="{25A2101F-9CCF-7E64-A1FC-3DD31923C875}"/>
          </ac:spMkLst>
        </pc:spChg>
        <pc:spChg chg="add mod">
          <ac:chgData name="Connor Xu" userId="a2fa5610-7f85-41f8-9630-afc02cec4fa9" providerId="ADAL" clId="{57EAAC4B-D155-4C96-A5D6-9BC102C82EFF}" dt="2024-09-03T00:25:24.998" v="8808"/>
          <ac:spMkLst>
            <pc:docMk/>
            <pc:sldMk cId="806101404" sldId="2147471590"/>
            <ac:spMk id="38" creationId="{2005F0BC-2229-9AF3-9BF7-C5AC1C391E18}"/>
          </ac:spMkLst>
        </pc:spChg>
        <pc:spChg chg="add mod">
          <ac:chgData name="Connor Xu" userId="a2fa5610-7f85-41f8-9630-afc02cec4fa9" providerId="ADAL" clId="{57EAAC4B-D155-4C96-A5D6-9BC102C82EFF}" dt="2024-09-03T00:25:24.998" v="8808"/>
          <ac:spMkLst>
            <pc:docMk/>
            <pc:sldMk cId="806101404" sldId="2147471590"/>
            <ac:spMk id="39" creationId="{52BA6800-AD2E-8D05-9FE4-7DBF94AA300B}"/>
          </ac:spMkLst>
        </pc:spChg>
        <pc:spChg chg="add mod">
          <ac:chgData name="Connor Xu" userId="a2fa5610-7f85-41f8-9630-afc02cec4fa9" providerId="ADAL" clId="{57EAAC4B-D155-4C96-A5D6-9BC102C82EFF}" dt="2024-09-03T00:25:24.998" v="8808"/>
          <ac:spMkLst>
            <pc:docMk/>
            <pc:sldMk cId="806101404" sldId="2147471590"/>
            <ac:spMk id="40" creationId="{0F1EDC92-DB43-8CA3-072A-EDEC5C3DBE4A}"/>
          </ac:spMkLst>
        </pc:spChg>
        <pc:spChg chg="add mod">
          <ac:chgData name="Connor Xu" userId="a2fa5610-7f85-41f8-9630-afc02cec4fa9" providerId="ADAL" clId="{57EAAC4B-D155-4C96-A5D6-9BC102C82EFF}" dt="2024-09-03T00:25:24.998" v="8808"/>
          <ac:spMkLst>
            <pc:docMk/>
            <pc:sldMk cId="806101404" sldId="2147471590"/>
            <ac:spMk id="41" creationId="{B96B53C5-CE73-6160-0B0A-C4F4187257FB}"/>
          </ac:spMkLst>
        </pc:spChg>
        <pc:spChg chg="add mod">
          <ac:chgData name="Connor Xu" userId="a2fa5610-7f85-41f8-9630-afc02cec4fa9" providerId="ADAL" clId="{57EAAC4B-D155-4C96-A5D6-9BC102C82EFF}" dt="2024-09-03T00:25:24.998" v="8808"/>
          <ac:spMkLst>
            <pc:docMk/>
            <pc:sldMk cId="806101404" sldId="2147471590"/>
            <ac:spMk id="42" creationId="{FED47CF5-0A49-87E7-14D8-CC4E78AE30C4}"/>
          </ac:spMkLst>
        </pc:spChg>
        <pc:spChg chg="add mod">
          <ac:chgData name="Connor Xu" userId="a2fa5610-7f85-41f8-9630-afc02cec4fa9" providerId="ADAL" clId="{57EAAC4B-D155-4C96-A5D6-9BC102C82EFF}" dt="2024-09-03T00:25:24.998" v="8808"/>
          <ac:spMkLst>
            <pc:docMk/>
            <pc:sldMk cId="806101404" sldId="2147471590"/>
            <ac:spMk id="43" creationId="{0FEF3A62-AED5-5859-04D1-F599C81BA9CC}"/>
          </ac:spMkLst>
        </pc:spChg>
        <pc:spChg chg="add mod">
          <ac:chgData name="Connor Xu" userId="a2fa5610-7f85-41f8-9630-afc02cec4fa9" providerId="ADAL" clId="{57EAAC4B-D155-4C96-A5D6-9BC102C82EFF}" dt="2024-09-03T00:25:24.998" v="8808"/>
          <ac:spMkLst>
            <pc:docMk/>
            <pc:sldMk cId="806101404" sldId="2147471590"/>
            <ac:spMk id="44" creationId="{F4ECE830-D685-7F15-3819-D43EA4D44BD7}"/>
          </ac:spMkLst>
        </pc:spChg>
        <pc:spChg chg="add mod">
          <ac:chgData name="Connor Xu" userId="a2fa5610-7f85-41f8-9630-afc02cec4fa9" providerId="ADAL" clId="{57EAAC4B-D155-4C96-A5D6-9BC102C82EFF}" dt="2024-09-03T00:25:24.998" v="8808"/>
          <ac:spMkLst>
            <pc:docMk/>
            <pc:sldMk cId="806101404" sldId="2147471590"/>
            <ac:spMk id="45" creationId="{2F8DB296-0553-EFD2-54FA-0E6223D920B6}"/>
          </ac:spMkLst>
        </pc:spChg>
        <pc:spChg chg="add mod">
          <ac:chgData name="Connor Xu" userId="a2fa5610-7f85-41f8-9630-afc02cec4fa9" providerId="ADAL" clId="{57EAAC4B-D155-4C96-A5D6-9BC102C82EFF}" dt="2024-09-03T00:25:24.998" v="8808"/>
          <ac:spMkLst>
            <pc:docMk/>
            <pc:sldMk cId="806101404" sldId="2147471590"/>
            <ac:spMk id="46" creationId="{A2E8E4BA-B639-2007-2E87-08A792820843}"/>
          </ac:spMkLst>
        </pc:spChg>
        <pc:spChg chg="add mod">
          <ac:chgData name="Connor Xu" userId="a2fa5610-7f85-41f8-9630-afc02cec4fa9" providerId="ADAL" clId="{57EAAC4B-D155-4C96-A5D6-9BC102C82EFF}" dt="2024-09-03T00:25:24.998" v="8808"/>
          <ac:spMkLst>
            <pc:docMk/>
            <pc:sldMk cId="806101404" sldId="2147471590"/>
            <ac:spMk id="47" creationId="{5F10E7C9-3A7A-D10D-BA57-B5ACF5276376}"/>
          </ac:spMkLst>
        </pc:spChg>
        <pc:spChg chg="add mod">
          <ac:chgData name="Connor Xu" userId="a2fa5610-7f85-41f8-9630-afc02cec4fa9" providerId="ADAL" clId="{57EAAC4B-D155-4C96-A5D6-9BC102C82EFF}" dt="2024-09-03T00:25:24.998" v="8808"/>
          <ac:spMkLst>
            <pc:docMk/>
            <pc:sldMk cId="806101404" sldId="2147471590"/>
            <ac:spMk id="48" creationId="{EE79D0B4-6987-476D-A8FD-97CD6974FBB7}"/>
          </ac:spMkLst>
        </pc:spChg>
        <pc:spChg chg="add mod">
          <ac:chgData name="Connor Xu" userId="a2fa5610-7f85-41f8-9630-afc02cec4fa9" providerId="ADAL" clId="{57EAAC4B-D155-4C96-A5D6-9BC102C82EFF}" dt="2024-09-03T00:25:24.998" v="8808"/>
          <ac:spMkLst>
            <pc:docMk/>
            <pc:sldMk cId="806101404" sldId="2147471590"/>
            <ac:spMk id="49" creationId="{9EA78923-3C0B-D652-B550-826A3B77C06B}"/>
          </ac:spMkLst>
        </pc:spChg>
        <pc:spChg chg="add mod">
          <ac:chgData name="Connor Xu" userId="a2fa5610-7f85-41f8-9630-afc02cec4fa9" providerId="ADAL" clId="{57EAAC4B-D155-4C96-A5D6-9BC102C82EFF}" dt="2024-09-03T00:25:24.998" v="8808"/>
          <ac:spMkLst>
            <pc:docMk/>
            <pc:sldMk cId="806101404" sldId="2147471590"/>
            <ac:spMk id="50" creationId="{F056CEF8-9F78-3CB8-0358-F900A1B3F320}"/>
          </ac:spMkLst>
        </pc:spChg>
        <pc:spChg chg="add mod">
          <ac:chgData name="Connor Xu" userId="a2fa5610-7f85-41f8-9630-afc02cec4fa9" providerId="ADAL" clId="{57EAAC4B-D155-4C96-A5D6-9BC102C82EFF}" dt="2024-09-03T00:25:24.998" v="8808"/>
          <ac:spMkLst>
            <pc:docMk/>
            <pc:sldMk cId="806101404" sldId="2147471590"/>
            <ac:spMk id="51" creationId="{D58A1B71-D409-0625-11A3-E67F80BCA26F}"/>
          </ac:spMkLst>
        </pc:spChg>
        <pc:spChg chg="add mod">
          <ac:chgData name="Connor Xu" userId="a2fa5610-7f85-41f8-9630-afc02cec4fa9" providerId="ADAL" clId="{57EAAC4B-D155-4C96-A5D6-9BC102C82EFF}" dt="2024-09-03T00:25:24.998" v="8808"/>
          <ac:spMkLst>
            <pc:docMk/>
            <pc:sldMk cId="806101404" sldId="2147471590"/>
            <ac:spMk id="52" creationId="{1ACA6934-4779-A78C-05C7-60777325215F}"/>
          </ac:spMkLst>
        </pc:spChg>
        <pc:spChg chg="add mod">
          <ac:chgData name="Connor Xu" userId="a2fa5610-7f85-41f8-9630-afc02cec4fa9" providerId="ADAL" clId="{57EAAC4B-D155-4C96-A5D6-9BC102C82EFF}" dt="2024-09-03T00:25:24.998" v="8808"/>
          <ac:spMkLst>
            <pc:docMk/>
            <pc:sldMk cId="806101404" sldId="2147471590"/>
            <ac:spMk id="53" creationId="{4FC49650-1901-0BDF-B641-592EE42E720D}"/>
          </ac:spMkLst>
        </pc:spChg>
        <pc:spChg chg="add mod">
          <ac:chgData name="Connor Xu" userId="a2fa5610-7f85-41f8-9630-afc02cec4fa9" providerId="ADAL" clId="{57EAAC4B-D155-4C96-A5D6-9BC102C82EFF}" dt="2024-09-03T00:25:24.998" v="8808"/>
          <ac:spMkLst>
            <pc:docMk/>
            <pc:sldMk cId="806101404" sldId="2147471590"/>
            <ac:spMk id="54" creationId="{EAA0F974-2007-D92A-FC0B-AE2AB5A1D860}"/>
          </ac:spMkLst>
        </pc:spChg>
        <pc:spChg chg="add mod">
          <ac:chgData name="Connor Xu" userId="a2fa5610-7f85-41f8-9630-afc02cec4fa9" providerId="ADAL" clId="{57EAAC4B-D155-4C96-A5D6-9BC102C82EFF}" dt="2024-09-03T00:25:24.998" v="8808"/>
          <ac:spMkLst>
            <pc:docMk/>
            <pc:sldMk cId="806101404" sldId="2147471590"/>
            <ac:spMk id="62" creationId="{95C0079E-FECD-67C5-0C00-BE91A6339F01}"/>
          </ac:spMkLst>
        </pc:spChg>
        <pc:spChg chg="add mod">
          <ac:chgData name="Connor Xu" userId="a2fa5610-7f85-41f8-9630-afc02cec4fa9" providerId="ADAL" clId="{57EAAC4B-D155-4C96-A5D6-9BC102C82EFF}" dt="2024-09-03T00:25:24.998" v="8808"/>
          <ac:spMkLst>
            <pc:docMk/>
            <pc:sldMk cId="806101404" sldId="2147471590"/>
            <ac:spMk id="63" creationId="{C829F8DE-11BC-EAE2-4F91-A7CD61E6A232}"/>
          </ac:spMkLst>
        </pc:spChg>
        <pc:spChg chg="add mod">
          <ac:chgData name="Connor Xu" userId="a2fa5610-7f85-41f8-9630-afc02cec4fa9" providerId="ADAL" clId="{57EAAC4B-D155-4C96-A5D6-9BC102C82EFF}" dt="2024-09-03T00:25:24.998" v="8808"/>
          <ac:spMkLst>
            <pc:docMk/>
            <pc:sldMk cId="806101404" sldId="2147471590"/>
            <ac:spMk id="64" creationId="{16CF9337-164B-412A-19FA-5609EEE18721}"/>
          </ac:spMkLst>
        </pc:spChg>
        <pc:spChg chg="add mod">
          <ac:chgData name="Connor Xu" userId="a2fa5610-7f85-41f8-9630-afc02cec4fa9" providerId="ADAL" clId="{57EAAC4B-D155-4C96-A5D6-9BC102C82EFF}" dt="2024-09-03T00:31:42.012" v="8861" actId="552"/>
          <ac:spMkLst>
            <pc:docMk/>
            <pc:sldMk cId="806101404" sldId="2147471590"/>
            <ac:spMk id="67" creationId="{DF17ECDA-4C46-22D1-3767-7CED0D7D9F98}"/>
          </ac:spMkLst>
        </pc:spChg>
        <pc:spChg chg="add mod">
          <ac:chgData name="Connor Xu" userId="a2fa5610-7f85-41f8-9630-afc02cec4fa9" providerId="ADAL" clId="{57EAAC4B-D155-4C96-A5D6-9BC102C82EFF}" dt="2024-09-03T00:31:44.691" v="8862" actId="552"/>
          <ac:spMkLst>
            <pc:docMk/>
            <pc:sldMk cId="806101404" sldId="2147471590"/>
            <ac:spMk id="68" creationId="{710324E3-B31F-58B6-FE4E-9CEA77B34EB3}"/>
          </ac:spMkLst>
        </pc:spChg>
        <pc:spChg chg="add mod">
          <ac:chgData name="Connor Xu" userId="a2fa5610-7f85-41f8-9630-afc02cec4fa9" providerId="ADAL" clId="{57EAAC4B-D155-4C96-A5D6-9BC102C82EFF}" dt="2024-09-03T00:31:47.729" v="8863" actId="552"/>
          <ac:spMkLst>
            <pc:docMk/>
            <pc:sldMk cId="806101404" sldId="2147471590"/>
            <ac:spMk id="69" creationId="{F03A20F5-BFF2-DB4A-51DC-9A66CD00E6EF}"/>
          </ac:spMkLst>
        </pc:spChg>
        <pc:spChg chg="add mod">
          <ac:chgData name="Connor Xu" userId="a2fa5610-7f85-41f8-9630-afc02cec4fa9" providerId="ADAL" clId="{57EAAC4B-D155-4C96-A5D6-9BC102C82EFF}" dt="2024-09-03T00:30:56.687" v="8845" actId="403"/>
          <ac:spMkLst>
            <pc:docMk/>
            <pc:sldMk cId="806101404" sldId="2147471590"/>
            <ac:spMk id="70" creationId="{5AB5DE8E-80AE-7A1E-45C9-C8249E3E9261}"/>
          </ac:spMkLst>
        </pc:spChg>
        <pc:spChg chg="add mod">
          <ac:chgData name="Connor Xu" userId="a2fa5610-7f85-41f8-9630-afc02cec4fa9" providerId="ADAL" clId="{57EAAC4B-D155-4C96-A5D6-9BC102C82EFF}" dt="2024-09-03T00:36:27.451" v="9132" actId="1035"/>
          <ac:spMkLst>
            <pc:docMk/>
            <pc:sldMk cId="806101404" sldId="2147471590"/>
            <ac:spMk id="71" creationId="{6A2AF1C6-40F0-2154-53DD-A71C72F74FA5}"/>
          </ac:spMkLst>
        </pc:spChg>
        <pc:spChg chg="add mod">
          <ac:chgData name="Connor Xu" userId="a2fa5610-7f85-41f8-9630-afc02cec4fa9" providerId="ADAL" clId="{57EAAC4B-D155-4C96-A5D6-9BC102C82EFF}" dt="2024-09-03T00:36:27.451" v="9132" actId="1035"/>
          <ac:spMkLst>
            <pc:docMk/>
            <pc:sldMk cId="806101404" sldId="2147471590"/>
            <ac:spMk id="72" creationId="{2FD91B6F-44F8-2C57-7891-B48B41916FA5}"/>
          </ac:spMkLst>
        </pc:spChg>
        <pc:spChg chg="add mod">
          <ac:chgData name="Connor Xu" userId="a2fa5610-7f85-41f8-9630-afc02cec4fa9" providerId="ADAL" clId="{57EAAC4B-D155-4C96-A5D6-9BC102C82EFF}" dt="2024-09-03T00:36:27.451" v="9132" actId="1035"/>
          <ac:spMkLst>
            <pc:docMk/>
            <pc:sldMk cId="806101404" sldId="2147471590"/>
            <ac:spMk id="73" creationId="{B5C2CDA5-5F3C-2C82-680F-F9CF730EB241}"/>
          </ac:spMkLst>
        </pc:spChg>
        <pc:spChg chg="add mod">
          <ac:chgData name="Connor Xu" userId="a2fa5610-7f85-41f8-9630-afc02cec4fa9" providerId="ADAL" clId="{57EAAC4B-D155-4C96-A5D6-9BC102C82EFF}" dt="2024-09-03T00:36:27.451" v="9132" actId="1035"/>
          <ac:spMkLst>
            <pc:docMk/>
            <pc:sldMk cId="806101404" sldId="2147471590"/>
            <ac:spMk id="74" creationId="{DA75AF50-27F0-FB28-79AD-E1BEDF97B2DD}"/>
          </ac:spMkLst>
        </pc:spChg>
        <pc:spChg chg="add mod">
          <ac:chgData name="Connor Xu" userId="a2fa5610-7f85-41f8-9630-afc02cec4fa9" providerId="ADAL" clId="{57EAAC4B-D155-4C96-A5D6-9BC102C82EFF}" dt="2024-09-03T00:36:27.451" v="9132" actId="1035"/>
          <ac:spMkLst>
            <pc:docMk/>
            <pc:sldMk cId="806101404" sldId="2147471590"/>
            <ac:spMk id="75" creationId="{1F70B720-3F81-7E6F-2960-11E581DFC429}"/>
          </ac:spMkLst>
        </pc:spChg>
        <pc:spChg chg="add mod">
          <ac:chgData name="Connor Xu" userId="a2fa5610-7f85-41f8-9630-afc02cec4fa9" providerId="ADAL" clId="{57EAAC4B-D155-4C96-A5D6-9BC102C82EFF}" dt="2024-09-03T03:01:33.481" v="10112" actId="20577"/>
          <ac:spMkLst>
            <pc:docMk/>
            <pc:sldMk cId="806101404" sldId="2147471590"/>
            <ac:spMk id="76" creationId="{840E4874-1B37-58AE-FD04-4C17C1EB2E4C}"/>
          </ac:spMkLst>
        </pc:spChg>
        <pc:spChg chg="add mod">
          <ac:chgData name="Connor Xu" userId="a2fa5610-7f85-41f8-9630-afc02cec4fa9" providerId="ADAL" clId="{57EAAC4B-D155-4C96-A5D6-9BC102C82EFF}" dt="2024-09-03T03:01:55.935" v="10123" actId="20577"/>
          <ac:spMkLst>
            <pc:docMk/>
            <pc:sldMk cId="806101404" sldId="2147471590"/>
            <ac:spMk id="77" creationId="{396C302C-0C4E-B5B6-A9F0-21A58DC8D984}"/>
          </ac:spMkLst>
        </pc:spChg>
        <pc:spChg chg="add mod">
          <ac:chgData name="Connor Xu" userId="a2fa5610-7f85-41f8-9630-afc02cec4fa9" providerId="ADAL" clId="{57EAAC4B-D155-4C96-A5D6-9BC102C82EFF}" dt="2024-09-03T03:02:08.312" v="10126" actId="20577"/>
          <ac:spMkLst>
            <pc:docMk/>
            <pc:sldMk cId="806101404" sldId="2147471590"/>
            <ac:spMk id="78" creationId="{7B7A581E-7082-CEDA-A32A-0606CB5F9A8D}"/>
          </ac:spMkLst>
        </pc:spChg>
        <pc:spChg chg="add mod">
          <ac:chgData name="Connor Xu" userId="a2fa5610-7f85-41f8-9630-afc02cec4fa9" providerId="ADAL" clId="{57EAAC4B-D155-4C96-A5D6-9BC102C82EFF}" dt="2024-09-03T00:36:27.451" v="9132" actId="1035"/>
          <ac:spMkLst>
            <pc:docMk/>
            <pc:sldMk cId="806101404" sldId="2147471590"/>
            <ac:spMk id="79" creationId="{2B36D0F4-8B77-8BED-D4D3-A3EEC6B139D9}"/>
          </ac:spMkLst>
        </pc:spChg>
        <pc:spChg chg="add mod">
          <ac:chgData name="Connor Xu" userId="a2fa5610-7f85-41f8-9630-afc02cec4fa9" providerId="ADAL" clId="{57EAAC4B-D155-4C96-A5D6-9BC102C82EFF}" dt="2024-09-03T00:36:27.451" v="9132" actId="1035"/>
          <ac:spMkLst>
            <pc:docMk/>
            <pc:sldMk cId="806101404" sldId="2147471590"/>
            <ac:spMk id="80" creationId="{04DB58D0-4208-8A04-B8A5-5072A474EB44}"/>
          </ac:spMkLst>
        </pc:spChg>
        <pc:spChg chg="add mod">
          <ac:chgData name="Connor Xu" userId="a2fa5610-7f85-41f8-9630-afc02cec4fa9" providerId="ADAL" clId="{57EAAC4B-D155-4C96-A5D6-9BC102C82EFF}" dt="2024-09-03T00:36:27.451" v="9132" actId="1035"/>
          <ac:spMkLst>
            <pc:docMk/>
            <pc:sldMk cId="806101404" sldId="2147471590"/>
            <ac:spMk id="81" creationId="{941AEB56-C28F-55E4-980D-86C5288C5C36}"/>
          </ac:spMkLst>
        </pc:spChg>
        <pc:spChg chg="add mod">
          <ac:chgData name="Connor Xu" userId="a2fa5610-7f85-41f8-9630-afc02cec4fa9" providerId="ADAL" clId="{57EAAC4B-D155-4C96-A5D6-9BC102C82EFF}" dt="2024-09-03T00:36:27.451" v="9132" actId="1035"/>
          <ac:spMkLst>
            <pc:docMk/>
            <pc:sldMk cId="806101404" sldId="2147471590"/>
            <ac:spMk id="82" creationId="{6D05F42C-F79B-12DE-6C1A-C0C47B0A246C}"/>
          </ac:spMkLst>
        </pc:spChg>
        <pc:spChg chg="add mod">
          <ac:chgData name="Connor Xu" userId="a2fa5610-7f85-41f8-9630-afc02cec4fa9" providerId="ADAL" clId="{57EAAC4B-D155-4C96-A5D6-9BC102C82EFF}" dt="2024-09-03T00:36:27.451" v="9132" actId="1035"/>
          <ac:spMkLst>
            <pc:docMk/>
            <pc:sldMk cId="806101404" sldId="2147471590"/>
            <ac:spMk id="83" creationId="{95F85918-2284-2279-B49C-176513263DAB}"/>
          </ac:spMkLst>
        </pc:spChg>
        <pc:spChg chg="add mod">
          <ac:chgData name="Connor Xu" userId="a2fa5610-7f85-41f8-9630-afc02cec4fa9" providerId="ADAL" clId="{57EAAC4B-D155-4C96-A5D6-9BC102C82EFF}" dt="2024-09-03T00:36:27.451" v="9132" actId="1035"/>
          <ac:spMkLst>
            <pc:docMk/>
            <pc:sldMk cId="806101404" sldId="2147471590"/>
            <ac:spMk id="84" creationId="{2C72616E-DDE4-3139-D6E2-77A199BBEBD5}"/>
          </ac:spMkLst>
        </pc:spChg>
        <pc:spChg chg="add mod">
          <ac:chgData name="Connor Xu" userId="a2fa5610-7f85-41f8-9630-afc02cec4fa9" providerId="ADAL" clId="{57EAAC4B-D155-4C96-A5D6-9BC102C82EFF}" dt="2024-09-03T00:36:27.451" v="9132" actId="1035"/>
          <ac:spMkLst>
            <pc:docMk/>
            <pc:sldMk cId="806101404" sldId="2147471590"/>
            <ac:spMk id="85" creationId="{84EF5E1E-EDC4-E64F-706A-593293040A2B}"/>
          </ac:spMkLst>
        </pc:spChg>
        <pc:spChg chg="add mod">
          <ac:chgData name="Connor Xu" userId="a2fa5610-7f85-41f8-9630-afc02cec4fa9" providerId="ADAL" clId="{57EAAC4B-D155-4C96-A5D6-9BC102C82EFF}" dt="2024-09-03T00:36:27.451" v="9132" actId="1035"/>
          <ac:spMkLst>
            <pc:docMk/>
            <pc:sldMk cId="806101404" sldId="2147471590"/>
            <ac:spMk id="86" creationId="{A25ADF9F-9CCD-433B-50FA-9D479FED7491}"/>
          </ac:spMkLst>
        </pc:spChg>
        <pc:spChg chg="add mod">
          <ac:chgData name="Connor Xu" userId="a2fa5610-7f85-41f8-9630-afc02cec4fa9" providerId="ADAL" clId="{57EAAC4B-D155-4C96-A5D6-9BC102C82EFF}" dt="2024-09-03T00:30:56.687" v="8845" actId="403"/>
          <ac:spMkLst>
            <pc:docMk/>
            <pc:sldMk cId="806101404" sldId="2147471590"/>
            <ac:spMk id="94" creationId="{0786370C-8BDA-51D7-2C85-37B0E5C6417A}"/>
          </ac:spMkLst>
        </pc:spChg>
        <pc:spChg chg="add mod">
          <ac:chgData name="Connor Xu" userId="a2fa5610-7f85-41f8-9630-afc02cec4fa9" providerId="ADAL" clId="{57EAAC4B-D155-4C96-A5D6-9BC102C82EFF}" dt="2024-09-03T03:01:27.126" v="10109" actId="20577"/>
          <ac:spMkLst>
            <pc:docMk/>
            <pc:sldMk cId="806101404" sldId="2147471590"/>
            <ac:spMk id="95" creationId="{B6E8C8DC-CF1F-8B36-B7F0-26CFADEBEE37}"/>
          </ac:spMkLst>
        </pc:spChg>
        <pc:spChg chg="add mod">
          <ac:chgData name="Connor Xu" userId="a2fa5610-7f85-41f8-9630-afc02cec4fa9" providerId="ADAL" clId="{57EAAC4B-D155-4C96-A5D6-9BC102C82EFF}" dt="2024-09-03T00:36:27.451" v="9132" actId="1035"/>
          <ac:spMkLst>
            <pc:docMk/>
            <pc:sldMk cId="806101404" sldId="2147471590"/>
            <ac:spMk id="96" creationId="{56106896-07E3-E4F6-7980-402D6E39C7CE}"/>
          </ac:spMkLst>
        </pc:spChg>
        <pc:grpChg chg="del mod topLvl">
          <ac:chgData name="Connor Xu" userId="a2fa5610-7f85-41f8-9630-afc02cec4fa9" providerId="ADAL" clId="{57EAAC4B-D155-4C96-A5D6-9BC102C82EFF}" dt="2024-09-03T00:23:19.673" v="8739" actId="478"/>
          <ac:grpSpMkLst>
            <pc:docMk/>
            <pc:sldMk cId="806101404" sldId="2147471590"/>
            <ac:grpSpMk id="9" creationId="{EDDB4A96-3B08-9389-DF72-D7773CF2588E}"/>
          </ac:grpSpMkLst>
        </pc:grpChg>
        <pc:grpChg chg="del mod topLvl">
          <ac:chgData name="Connor Xu" userId="a2fa5610-7f85-41f8-9630-afc02cec4fa9" providerId="ADAL" clId="{57EAAC4B-D155-4C96-A5D6-9BC102C82EFF}" dt="2024-09-03T00:23:19.673" v="8739" actId="478"/>
          <ac:grpSpMkLst>
            <pc:docMk/>
            <pc:sldMk cId="806101404" sldId="2147471590"/>
            <ac:grpSpMk id="12" creationId="{7176B66D-11B0-F645-6828-4C038557BDAE}"/>
          </ac:grpSpMkLst>
        </pc:grpChg>
        <pc:grpChg chg="del mod topLvl">
          <ac:chgData name="Connor Xu" userId="a2fa5610-7f85-41f8-9630-afc02cec4fa9" providerId="ADAL" clId="{57EAAC4B-D155-4C96-A5D6-9BC102C82EFF}" dt="2024-09-03T00:23:25.532" v="8744" actId="478"/>
          <ac:grpSpMkLst>
            <pc:docMk/>
            <pc:sldMk cId="806101404" sldId="2147471590"/>
            <ac:grpSpMk id="16" creationId="{8A0BFE5C-D559-762C-159E-23493E4AECA8}"/>
          </ac:grpSpMkLst>
        </pc:grpChg>
        <pc:grpChg chg="del mod topLvl">
          <ac:chgData name="Connor Xu" userId="a2fa5610-7f85-41f8-9630-afc02cec4fa9" providerId="ADAL" clId="{57EAAC4B-D155-4C96-A5D6-9BC102C82EFF}" dt="2024-09-03T00:23:19.673" v="8739" actId="478"/>
          <ac:grpSpMkLst>
            <pc:docMk/>
            <pc:sldMk cId="806101404" sldId="2147471590"/>
            <ac:grpSpMk id="20" creationId="{CA6A4E57-3DE8-E8BD-D185-9E88C9665BE1}"/>
          </ac:grpSpMkLst>
        </pc:grpChg>
        <pc:grpChg chg="del mod topLvl">
          <ac:chgData name="Connor Xu" userId="a2fa5610-7f85-41f8-9630-afc02cec4fa9" providerId="ADAL" clId="{57EAAC4B-D155-4C96-A5D6-9BC102C82EFF}" dt="2024-09-03T00:23:19.673" v="8739" actId="478"/>
          <ac:grpSpMkLst>
            <pc:docMk/>
            <pc:sldMk cId="806101404" sldId="2147471590"/>
            <ac:grpSpMk id="23" creationId="{97B6F884-3072-7E9D-F9E0-EB5550C5DC94}"/>
          </ac:grpSpMkLst>
        </pc:grpChg>
        <pc:grpChg chg="add del mod">
          <ac:chgData name="Connor Xu" userId="a2fa5610-7f85-41f8-9630-afc02cec4fa9" providerId="ADAL" clId="{57EAAC4B-D155-4C96-A5D6-9BC102C82EFF}" dt="2024-09-03T00:23:14.744" v="8738" actId="165"/>
          <ac:grpSpMkLst>
            <pc:docMk/>
            <pc:sldMk cId="806101404" sldId="2147471590"/>
            <ac:grpSpMk id="30" creationId="{AA4AB3D2-5190-69C9-46BB-7A4AB438ECF7}"/>
          </ac:grpSpMkLst>
        </pc:grpChg>
        <pc:cxnChg chg="del mod topLvl">
          <ac:chgData name="Connor Xu" userId="a2fa5610-7f85-41f8-9630-afc02cec4fa9" providerId="ADAL" clId="{57EAAC4B-D155-4C96-A5D6-9BC102C82EFF}" dt="2024-09-03T00:23:22.194" v="8741" actId="478"/>
          <ac:cxnSpMkLst>
            <pc:docMk/>
            <pc:sldMk cId="806101404" sldId="2147471590"/>
            <ac:cxnSpMk id="8" creationId="{3D307158-29ED-6776-D0AB-6A009BC5187E}"/>
          </ac:cxnSpMkLst>
        </pc:cxnChg>
        <pc:cxnChg chg="mod">
          <ac:chgData name="Connor Xu" userId="a2fa5610-7f85-41f8-9630-afc02cec4fa9" providerId="ADAL" clId="{57EAAC4B-D155-4C96-A5D6-9BC102C82EFF}" dt="2024-09-03T00:23:14.744" v="8738" actId="165"/>
          <ac:cxnSpMkLst>
            <pc:docMk/>
            <pc:sldMk cId="806101404" sldId="2147471590"/>
            <ac:cxnSpMk id="17" creationId="{5DB38E96-E2F1-AA71-E0E2-4C541DA2627D}"/>
          </ac:cxnSpMkLst>
        </pc:cxnChg>
        <pc:cxnChg chg="mod">
          <ac:chgData name="Connor Xu" userId="a2fa5610-7f85-41f8-9630-afc02cec4fa9" providerId="ADAL" clId="{57EAAC4B-D155-4C96-A5D6-9BC102C82EFF}" dt="2024-09-03T00:23:14.744" v="8738" actId="165"/>
          <ac:cxnSpMkLst>
            <pc:docMk/>
            <pc:sldMk cId="806101404" sldId="2147471590"/>
            <ac:cxnSpMk id="18" creationId="{0CE75646-806D-A181-2B92-C59A24389675}"/>
          </ac:cxnSpMkLst>
        </pc:cxnChg>
        <pc:cxnChg chg="del mod topLvl">
          <ac:chgData name="Connor Xu" userId="a2fa5610-7f85-41f8-9630-afc02cec4fa9" providerId="ADAL" clId="{57EAAC4B-D155-4C96-A5D6-9BC102C82EFF}" dt="2024-09-03T00:23:23.032" v="8742" actId="478"/>
          <ac:cxnSpMkLst>
            <pc:docMk/>
            <pc:sldMk cId="806101404" sldId="2147471590"/>
            <ac:cxnSpMk id="26" creationId="{D9DC618D-697C-C3D0-102C-10EA38B5D175}"/>
          </ac:cxnSpMkLst>
        </pc:cxnChg>
        <pc:cxnChg chg="del mod topLvl">
          <ac:chgData name="Connor Xu" userId="a2fa5610-7f85-41f8-9630-afc02cec4fa9" providerId="ADAL" clId="{57EAAC4B-D155-4C96-A5D6-9BC102C82EFF}" dt="2024-09-03T00:23:21.003" v="8740" actId="478"/>
          <ac:cxnSpMkLst>
            <pc:docMk/>
            <pc:sldMk cId="806101404" sldId="2147471590"/>
            <ac:cxnSpMk id="27" creationId="{DDC9E139-97D3-3A04-2C9A-E8468A350D00}"/>
          </ac:cxnSpMkLst>
        </pc:cxnChg>
        <pc:cxnChg chg="add mod">
          <ac:chgData name="Connor Xu" userId="a2fa5610-7f85-41f8-9630-afc02cec4fa9" providerId="ADAL" clId="{57EAAC4B-D155-4C96-A5D6-9BC102C82EFF}" dt="2024-09-03T00:25:24.998" v="8808"/>
          <ac:cxnSpMkLst>
            <pc:docMk/>
            <pc:sldMk cId="806101404" sldId="2147471590"/>
            <ac:cxnSpMk id="34" creationId="{95123DFB-FA52-DBEC-59C7-4B0945EF7FE7}"/>
          </ac:cxnSpMkLst>
        </pc:cxnChg>
        <pc:cxnChg chg="add mod">
          <ac:chgData name="Connor Xu" userId="a2fa5610-7f85-41f8-9630-afc02cec4fa9" providerId="ADAL" clId="{57EAAC4B-D155-4C96-A5D6-9BC102C82EFF}" dt="2024-09-03T00:25:24.998" v="8808"/>
          <ac:cxnSpMkLst>
            <pc:docMk/>
            <pc:sldMk cId="806101404" sldId="2147471590"/>
            <ac:cxnSpMk id="55" creationId="{A65CBCD2-1DD5-52C4-0720-B261D33088DA}"/>
          </ac:cxnSpMkLst>
        </pc:cxnChg>
        <pc:cxnChg chg="add mod">
          <ac:chgData name="Connor Xu" userId="a2fa5610-7f85-41f8-9630-afc02cec4fa9" providerId="ADAL" clId="{57EAAC4B-D155-4C96-A5D6-9BC102C82EFF}" dt="2024-09-03T00:25:24.998" v="8808"/>
          <ac:cxnSpMkLst>
            <pc:docMk/>
            <pc:sldMk cId="806101404" sldId="2147471590"/>
            <ac:cxnSpMk id="56" creationId="{12BBC683-78E5-5185-CCDC-A61C9B1B9F1A}"/>
          </ac:cxnSpMkLst>
        </pc:cxnChg>
        <pc:cxnChg chg="add mod">
          <ac:chgData name="Connor Xu" userId="a2fa5610-7f85-41f8-9630-afc02cec4fa9" providerId="ADAL" clId="{57EAAC4B-D155-4C96-A5D6-9BC102C82EFF}" dt="2024-09-03T00:25:24.998" v="8808"/>
          <ac:cxnSpMkLst>
            <pc:docMk/>
            <pc:sldMk cId="806101404" sldId="2147471590"/>
            <ac:cxnSpMk id="57" creationId="{5CF7B377-1BF1-0D5F-3F94-24E2CBA5E2BF}"/>
          </ac:cxnSpMkLst>
        </pc:cxnChg>
        <pc:cxnChg chg="add mod">
          <ac:chgData name="Connor Xu" userId="a2fa5610-7f85-41f8-9630-afc02cec4fa9" providerId="ADAL" clId="{57EAAC4B-D155-4C96-A5D6-9BC102C82EFF}" dt="2024-09-03T00:25:24.998" v="8808"/>
          <ac:cxnSpMkLst>
            <pc:docMk/>
            <pc:sldMk cId="806101404" sldId="2147471590"/>
            <ac:cxnSpMk id="58" creationId="{0E17417F-9060-8C90-D5CA-B2E818D11BF2}"/>
          </ac:cxnSpMkLst>
        </pc:cxnChg>
        <pc:cxnChg chg="add mod">
          <ac:chgData name="Connor Xu" userId="a2fa5610-7f85-41f8-9630-afc02cec4fa9" providerId="ADAL" clId="{57EAAC4B-D155-4C96-A5D6-9BC102C82EFF}" dt="2024-09-03T00:25:24.998" v="8808"/>
          <ac:cxnSpMkLst>
            <pc:docMk/>
            <pc:sldMk cId="806101404" sldId="2147471590"/>
            <ac:cxnSpMk id="59" creationId="{D7EFB8A8-035A-7A38-3A24-4855F91CEF80}"/>
          </ac:cxnSpMkLst>
        </pc:cxnChg>
        <pc:cxnChg chg="add mod">
          <ac:chgData name="Connor Xu" userId="a2fa5610-7f85-41f8-9630-afc02cec4fa9" providerId="ADAL" clId="{57EAAC4B-D155-4C96-A5D6-9BC102C82EFF}" dt="2024-09-03T00:25:24.998" v="8808"/>
          <ac:cxnSpMkLst>
            <pc:docMk/>
            <pc:sldMk cId="806101404" sldId="2147471590"/>
            <ac:cxnSpMk id="60" creationId="{F61C60A2-14D8-9F0B-AD49-76272D764376}"/>
          </ac:cxnSpMkLst>
        </pc:cxnChg>
        <pc:cxnChg chg="add mod">
          <ac:chgData name="Connor Xu" userId="a2fa5610-7f85-41f8-9630-afc02cec4fa9" providerId="ADAL" clId="{57EAAC4B-D155-4C96-A5D6-9BC102C82EFF}" dt="2024-09-03T00:25:24.998" v="8808"/>
          <ac:cxnSpMkLst>
            <pc:docMk/>
            <pc:sldMk cId="806101404" sldId="2147471590"/>
            <ac:cxnSpMk id="61" creationId="{6E815605-A0FA-59FC-1D02-60A2BC00772E}"/>
          </ac:cxnSpMkLst>
        </pc:cxnChg>
        <pc:cxnChg chg="add mod">
          <ac:chgData name="Connor Xu" userId="a2fa5610-7f85-41f8-9630-afc02cec4fa9" providerId="ADAL" clId="{57EAAC4B-D155-4C96-A5D6-9BC102C82EFF}" dt="2024-09-03T00:25:24.998" v="8808"/>
          <ac:cxnSpMkLst>
            <pc:docMk/>
            <pc:sldMk cId="806101404" sldId="2147471590"/>
            <ac:cxnSpMk id="65" creationId="{528BE29F-4A7A-4C4F-6EB9-2848A8D40C0D}"/>
          </ac:cxnSpMkLst>
        </pc:cxnChg>
        <pc:cxnChg chg="add mod">
          <ac:chgData name="Connor Xu" userId="a2fa5610-7f85-41f8-9630-afc02cec4fa9" providerId="ADAL" clId="{57EAAC4B-D155-4C96-A5D6-9BC102C82EFF}" dt="2024-09-03T00:30:39.049" v="8841" actId="1036"/>
          <ac:cxnSpMkLst>
            <pc:docMk/>
            <pc:sldMk cId="806101404" sldId="2147471590"/>
            <ac:cxnSpMk id="66" creationId="{DA2A2B8C-73E3-A59F-62E0-B179F77A86EB}"/>
          </ac:cxnSpMkLst>
        </pc:cxnChg>
        <pc:cxnChg chg="add mod">
          <ac:chgData name="Connor Xu" userId="a2fa5610-7f85-41f8-9630-afc02cec4fa9" providerId="ADAL" clId="{57EAAC4B-D155-4C96-A5D6-9BC102C82EFF}" dt="2024-09-03T00:36:27.451" v="9132" actId="1035"/>
          <ac:cxnSpMkLst>
            <pc:docMk/>
            <pc:sldMk cId="806101404" sldId="2147471590"/>
            <ac:cxnSpMk id="87" creationId="{FA3968A7-3890-2FA0-AC5A-CD61DCBBAD98}"/>
          </ac:cxnSpMkLst>
        </pc:cxnChg>
        <pc:cxnChg chg="add mod">
          <ac:chgData name="Connor Xu" userId="a2fa5610-7f85-41f8-9630-afc02cec4fa9" providerId="ADAL" clId="{57EAAC4B-D155-4C96-A5D6-9BC102C82EFF}" dt="2024-09-03T00:36:27.451" v="9132" actId="1035"/>
          <ac:cxnSpMkLst>
            <pc:docMk/>
            <pc:sldMk cId="806101404" sldId="2147471590"/>
            <ac:cxnSpMk id="88" creationId="{4D3998A5-B987-D5F8-E2C6-60943FC0F39A}"/>
          </ac:cxnSpMkLst>
        </pc:cxnChg>
        <pc:cxnChg chg="add mod">
          <ac:chgData name="Connor Xu" userId="a2fa5610-7f85-41f8-9630-afc02cec4fa9" providerId="ADAL" clId="{57EAAC4B-D155-4C96-A5D6-9BC102C82EFF}" dt="2024-09-03T00:36:27.451" v="9132" actId="1035"/>
          <ac:cxnSpMkLst>
            <pc:docMk/>
            <pc:sldMk cId="806101404" sldId="2147471590"/>
            <ac:cxnSpMk id="89" creationId="{F0877AF9-75BB-C395-495B-A41C10C69C9D}"/>
          </ac:cxnSpMkLst>
        </pc:cxnChg>
        <pc:cxnChg chg="add mod">
          <ac:chgData name="Connor Xu" userId="a2fa5610-7f85-41f8-9630-afc02cec4fa9" providerId="ADAL" clId="{57EAAC4B-D155-4C96-A5D6-9BC102C82EFF}" dt="2024-09-03T00:36:27.451" v="9132" actId="1035"/>
          <ac:cxnSpMkLst>
            <pc:docMk/>
            <pc:sldMk cId="806101404" sldId="2147471590"/>
            <ac:cxnSpMk id="90" creationId="{7FAAB6C4-D2F0-C8B7-B839-47598CDF15CA}"/>
          </ac:cxnSpMkLst>
        </pc:cxnChg>
        <pc:cxnChg chg="add mod">
          <ac:chgData name="Connor Xu" userId="a2fa5610-7f85-41f8-9630-afc02cec4fa9" providerId="ADAL" clId="{57EAAC4B-D155-4C96-A5D6-9BC102C82EFF}" dt="2024-09-03T00:36:27.451" v="9132" actId="1035"/>
          <ac:cxnSpMkLst>
            <pc:docMk/>
            <pc:sldMk cId="806101404" sldId="2147471590"/>
            <ac:cxnSpMk id="91" creationId="{7275A031-7E32-8A74-5C1E-B74D9D6C0F5F}"/>
          </ac:cxnSpMkLst>
        </pc:cxnChg>
        <pc:cxnChg chg="add mod">
          <ac:chgData name="Connor Xu" userId="a2fa5610-7f85-41f8-9630-afc02cec4fa9" providerId="ADAL" clId="{57EAAC4B-D155-4C96-A5D6-9BC102C82EFF}" dt="2024-09-03T00:36:27.451" v="9132" actId="1035"/>
          <ac:cxnSpMkLst>
            <pc:docMk/>
            <pc:sldMk cId="806101404" sldId="2147471590"/>
            <ac:cxnSpMk id="92" creationId="{CB20257D-7ED6-ADE3-F541-6B3C0F6CA4A5}"/>
          </ac:cxnSpMkLst>
        </pc:cxnChg>
        <pc:cxnChg chg="add mod">
          <ac:chgData name="Connor Xu" userId="a2fa5610-7f85-41f8-9630-afc02cec4fa9" providerId="ADAL" clId="{57EAAC4B-D155-4C96-A5D6-9BC102C82EFF}" dt="2024-09-03T00:36:27.451" v="9132" actId="1035"/>
          <ac:cxnSpMkLst>
            <pc:docMk/>
            <pc:sldMk cId="806101404" sldId="2147471590"/>
            <ac:cxnSpMk id="93" creationId="{EAAE4FEC-85FC-0D8E-7F78-04FA08A0E435}"/>
          </ac:cxnSpMkLst>
        </pc:cxnChg>
        <pc:cxnChg chg="add mod">
          <ac:chgData name="Connor Xu" userId="a2fa5610-7f85-41f8-9630-afc02cec4fa9" providerId="ADAL" clId="{57EAAC4B-D155-4C96-A5D6-9BC102C82EFF}" dt="2024-09-03T00:36:27.451" v="9132" actId="1035"/>
          <ac:cxnSpMkLst>
            <pc:docMk/>
            <pc:sldMk cId="806101404" sldId="2147471590"/>
            <ac:cxnSpMk id="97" creationId="{38CCF95F-81D4-B397-02A0-D52A5754B754}"/>
          </ac:cxnSpMkLst>
        </pc:cxnChg>
      </pc:sldChg>
      <pc:sldChg chg="addSp delSp modSp mod">
        <pc:chgData name="Connor Xu" userId="a2fa5610-7f85-41f8-9630-afc02cec4fa9" providerId="ADAL" clId="{57EAAC4B-D155-4C96-A5D6-9BC102C82EFF}" dt="2024-09-04T04:40:50.497" v="10278" actId="465"/>
        <pc:sldMkLst>
          <pc:docMk/>
          <pc:sldMk cId="4208571328" sldId="2147471596"/>
        </pc:sldMkLst>
        <pc:spChg chg="add mod">
          <ac:chgData name="Connor Xu" userId="a2fa5610-7f85-41f8-9630-afc02cec4fa9" providerId="ADAL" clId="{57EAAC4B-D155-4C96-A5D6-9BC102C82EFF}" dt="2024-09-03T02:56:07.533" v="9747" actId="20577"/>
          <ac:spMkLst>
            <pc:docMk/>
            <pc:sldMk cId="4208571328" sldId="2147471596"/>
            <ac:spMk id="2" creationId="{4CF9AC12-6829-52A5-CD0E-10BDED945F63}"/>
          </ac:spMkLst>
        </pc:spChg>
        <pc:spChg chg="mod">
          <ac:chgData name="Connor Xu" userId="a2fa5610-7f85-41f8-9630-afc02cec4fa9" providerId="ADAL" clId="{57EAAC4B-D155-4C96-A5D6-9BC102C82EFF}" dt="2024-09-02T22:54:07.636" v="3528" actId="20577"/>
          <ac:spMkLst>
            <pc:docMk/>
            <pc:sldMk cId="4208571328" sldId="2147471596"/>
            <ac:spMk id="3" creationId="{140EC108-D5C9-3E4E-4D9B-4F09A8C4F2B4}"/>
          </ac:spMkLst>
        </pc:spChg>
        <pc:spChg chg="mod topLvl">
          <ac:chgData name="Connor Xu" userId="a2fa5610-7f85-41f8-9630-afc02cec4fa9" providerId="ADAL" clId="{57EAAC4B-D155-4C96-A5D6-9BC102C82EFF}" dt="2024-09-04T04:40:27.443" v="10271" actId="164"/>
          <ac:spMkLst>
            <pc:docMk/>
            <pc:sldMk cId="4208571328" sldId="2147471596"/>
            <ac:spMk id="8" creationId="{DEEA9E97-4C44-C8CC-FE38-E204C68C9355}"/>
          </ac:spMkLst>
        </pc:spChg>
        <pc:spChg chg="mod topLvl">
          <ac:chgData name="Connor Xu" userId="a2fa5610-7f85-41f8-9630-afc02cec4fa9" providerId="ADAL" clId="{57EAAC4B-D155-4C96-A5D6-9BC102C82EFF}" dt="2024-09-04T04:40:23.188" v="10270" actId="164"/>
          <ac:spMkLst>
            <pc:docMk/>
            <pc:sldMk cId="4208571328" sldId="2147471596"/>
            <ac:spMk id="9" creationId="{21908228-9DBE-7E05-4353-04EC9B209AC0}"/>
          </ac:spMkLst>
        </pc:spChg>
        <pc:spChg chg="mod topLvl">
          <ac:chgData name="Connor Xu" userId="a2fa5610-7f85-41f8-9630-afc02cec4fa9" providerId="ADAL" clId="{57EAAC4B-D155-4C96-A5D6-9BC102C82EFF}" dt="2024-09-04T04:40:27.443" v="10271" actId="164"/>
          <ac:spMkLst>
            <pc:docMk/>
            <pc:sldMk cId="4208571328" sldId="2147471596"/>
            <ac:spMk id="35" creationId="{72388A26-B344-5CD6-7D78-3526AFB2B9DD}"/>
          </ac:spMkLst>
        </pc:spChg>
        <pc:spChg chg="mod topLvl">
          <ac:chgData name="Connor Xu" userId="a2fa5610-7f85-41f8-9630-afc02cec4fa9" providerId="ADAL" clId="{57EAAC4B-D155-4C96-A5D6-9BC102C82EFF}" dt="2024-09-04T04:40:23.188" v="10270" actId="164"/>
          <ac:spMkLst>
            <pc:docMk/>
            <pc:sldMk cId="4208571328" sldId="2147471596"/>
            <ac:spMk id="36" creationId="{0C62D7C4-CE2E-6E4A-B1C2-8EB269A63DEA}"/>
          </ac:spMkLst>
        </pc:spChg>
        <pc:spChg chg="mod topLvl">
          <ac:chgData name="Connor Xu" userId="a2fa5610-7f85-41f8-9630-afc02cec4fa9" providerId="ADAL" clId="{57EAAC4B-D155-4C96-A5D6-9BC102C82EFF}" dt="2024-09-04T04:40:33.050" v="10272" actId="164"/>
          <ac:spMkLst>
            <pc:docMk/>
            <pc:sldMk cId="4208571328" sldId="2147471596"/>
            <ac:spMk id="41" creationId="{3CCB9DE4-D554-B42D-B673-6DA74BCAE57A}"/>
          </ac:spMkLst>
        </pc:spChg>
        <pc:spChg chg="mod topLvl">
          <ac:chgData name="Connor Xu" userId="a2fa5610-7f85-41f8-9630-afc02cec4fa9" providerId="ADAL" clId="{57EAAC4B-D155-4C96-A5D6-9BC102C82EFF}" dt="2024-09-04T04:40:19.146" v="10269" actId="164"/>
          <ac:spMkLst>
            <pc:docMk/>
            <pc:sldMk cId="4208571328" sldId="2147471596"/>
            <ac:spMk id="42" creationId="{DB9DA75B-C433-DBCE-3F27-A53F6BB69DD5}"/>
          </ac:spMkLst>
        </pc:spChg>
        <pc:spChg chg="mod topLvl">
          <ac:chgData name="Connor Xu" userId="a2fa5610-7f85-41f8-9630-afc02cec4fa9" providerId="ADAL" clId="{57EAAC4B-D155-4C96-A5D6-9BC102C82EFF}" dt="2024-09-04T04:40:33.050" v="10272" actId="164"/>
          <ac:spMkLst>
            <pc:docMk/>
            <pc:sldMk cId="4208571328" sldId="2147471596"/>
            <ac:spMk id="43" creationId="{2F548F59-7666-4810-3F26-72FD60861C1E}"/>
          </ac:spMkLst>
        </pc:spChg>
        <pc:spChg chg="mod topLvl">
          <ac:chgData name="Connor Xu" userId="a2fa5610-7f85-41f8-9630-afc02cec4fa9" providerId="ADAL" clId="{57EAAC4B-D155-4C96-A5D6-9BC102C82EFF}" dt="2024-09-04T04:40:19.146" v="10269" actId="164"/>
          <ac:spMkLst>
            <pc:docMk/>
            <pc:sldMk cId="4208571328" sldId="2147471596"/>
            <ac:spMk id="44" creationId="{EFB06E33-8A45-D610-CC47-FDE99AAE2567}"/>
          </ac:spMkLst>
        </pc:spChg>
        <pc:spChg chg="mod topLvl">
          <ac:chgData name="Connor Xu" userId="a2fa5610-7f85-41f8-9630-afc02cec4fa9" providerId="ADAL" clId="{57EAAC4B-D155-4C96-A5D6-9BC102C82EFF}" dt="2024-09-04T04:40:37.693" v="10273" actId="164"/>
          <ac:spMkLst>
            <pc:docMk/>
            <pc:sldMk cId="4208571328" sldId="2147471596"/>
            <ac:spMk id="45" creationId="{DC656B41-F94F-5E05-CA97-84F734BF6388}"/>
          </ac:spMkLst>
        </pc:spChg>
        <pc:spChg chg="mod topLvl">
          <ac:chgData name="Connor Xu" userId="a2fa5610-7f85-41f8-9630-afc02cec4fa9" providerId="ADAL" clId="{57EAAC4B-D155-4C96-A5D6-9BC102C82EFF}" dt="2024-09-04T04:40:06.925" v="10255" actId="164"/>
          <ac:spMkLst>
            <pc:docMk/>
            <pc:sldMk cId="4208571328" sldId="2147471596"/>
            <ac:spMk id="46" creationId="{E8B7FA9D-4014-C76C-4C31-AA65BDEF68FC}"/>
          </ac:spMkLst>
        </pc:spChg>
        <pc:spChg chg="mod topLvl">
          <ac:chgData name="Connor Xu" userId="a2fa5610-7f85-41f8-9630-afc02cec4fa9" providerId="ADAL" clId="{57EAAC4B-D155-4C96-A5D6-9BC102C82EFF}" dt="2024-09-04T04:40:37.693" v="10273" actId="164"/>
          <ac:spMkLst>
            <pc:docMk/>
            <pc:sldMk cId="4208571328" sldId="2147471596"/>
            <ac:spMk id="47" creationId="{A6D84AB3-F2E3-6518-0424-61123186F3BC}"/>
          </ac:spMkLst>
        </pc:spChg>
        <pc:spChg chg="mod topLvl">
          <ac:chgData name="Connor Xu" userId="a2fa5610-7f85-41f8-9630-afc02cec4fa9" providerId="ADAL" clId="{57EAAC4B-D155-4C96-A5D6-9BC102C82EFF}" dt="2024-09-04T04:40:06.925" v="10255" actId="164"/>
          <ac:spMkLst>
            <pc:docMk/>
            <pc:sldMk cId="4208571328" sldId="2147471596"/>
            <ac:spMk id="48" creationId="{5DBEEEA1-EEFA-2247-D89B-C2112055F868}"/>
          </ac:spMkLst>
        </pc:spChg>
        <pc:spChg chg="del">
          <ac:chgData name="Connor Xu" userId="a2fa5610-7f85-41f8-9630-afc02cec4fa9" providerId="ADAL" clId="{57EAAC4B-D155-4C96-A5D6-9BC102C82EFF}" dt="2024-09-02T23:00:14.297" v="3656" actId="478"/>
          <ac:spMkLst>
            <pc:docMk/>
            <pc:sldMk cId="4208571328" sldId="2147471596"/>
            <ac:spMk id="49" creationId="{2A8377B5-BF2B-D1F2-D38F-EA63AA776EE0}"/>
          </ac:spMkLst>
        </pc:spChg>
        <pc:spChg chg="del">
          <ac:chgData name="Connor Xu" userId="a2fa5610-7f85-41f8-9630-afc02cec4fa9" providerId="ADAL" clId="{57EAAC4B-D155-4C96-A5D6-9BC102C82EFF}" dt="2024-09-02T23:00:14.297" v="3656" actId="478"/>
          <ac:spMkLst>
            <pc:docMk/>
            <pc:sldMk cId="4208571328" sldId="2147471596"/>
            <ac:spMk id="50" creationId="{9BEAAA60-20E1-CB72-E9C1-CA1301CD60CB}"/>
          </ac:spMkLst>
        </pc:spChg>
        <pc:spChg chg="del">
          <ac:chgData name="Connor Xu" userId="a2fa5610-7f85-41f8-9630-afc02cec4fa9" providerId="ADAL" clId="{57EAAC4B-D155-4C96-A5D6-9BC102C82EFF}" dt="2024-09-02T23:00:14.297" v="3656" actId="478"/>
          <ac:spMkLst>
            <pc:docMk/>
            <pc:sldMk cId="4208571328" sldId="2147471596"/>
            <ac:spMk id="51" creationId="{785F90D8-90DD-0E5B-A6C0-72C5499B0B3F}"/>
          </ac:spMkLst>
        </pc:spChg>
        <pc:spChg chg="del">
          <ac:chgData name="Connor Xu" userId="a2fa5610-7f85-41f8-9630-afc02cec4fa9" providerId="ADAL" clId="{57EAAC4B-D155-4C96-A5D6-9BC102C82EFF}" dt="2024-09-02T23:00:14.297" v="3656" actId="478"/>
          <ac:spMkLst>
            <pc:docMk/>
            <pc:sldMk cId="4208571328" sldId="2147471596"/>
            <ac:spMk id="52" creationId="{54629BDD-12DF-DBD2-239A-F92883439889}"/>
          </ac:spMkLst>
        </pc:spChg>
        <pc:spChg chg="del">
          <ac:chgData name="Connor Xu" userId="a2fa5610-7f85-41f8-9630-afc02cec4fa9" providerId="ADAL" clId="{57EAAC4B-D155-4C96-A5D6-9BC102C82EFF}" dt="2024-09-02T23:00:14.297" v="3656" actId="478"/>
          <ac:spMkLst>
            <pc:docMk/>
            <pc:sldMk cId="4208571328" sldId="2147471596"/>
            <ac:spMk id="53" creationId="{DC4D9864-585B-2F20-695D-43C01586C1B3}"/>
          </ac:spMkLst>
        </pc:spChg>
        <pc:spChg chg="del">
          <ac:chgData name="Connor Xu" userId="a2fa5610-7f85-41f8-9630-afc02cec4fa9" providerId="ADAL" clId="{57EAAC4B-D155-4C96-A5D6-9BC102C82EFF}" dt="2024-09-02T23:00:14.297" v="3656" actId="478"/>
          <ac:spMkLst>
            <pc:docMk/>
            <pc:sldMk cId="4208571328" sldId="2147471596"/>
            <ac:spMk id="54" creationId="{8FBB5795-9368-0A3D-5101-C93168510D6F}"/>
          </ac:spMkLst>
        </pc:spChg>
        <pc:spChg chg="del">
          <ac:chgData name="Connor Xu" userId="a2fa5610-7f85-41f8-9630-afc02cec4fa9" providerId="ADAL" clId="{57EAAC4B-D155-4C96-A5D6-9BC102C82EFF}" dt="2024-09-02T23:00:14.297" v="3656" actId="478"/>
          <ac:spMkLst>
            <pc:docMk/>
            <pc:sldMk cId="4208571328" sldId="2147471596"/>
            <ac:spMk id="55" creationId="{DAC982FF-2B12-E8CD-0998-435E7FEAADA5}"/>
          </ac:spMkLst>
        </pc:spChg>
        <pc:spChg chg="del">
          <ac:chgData name="Connor Xu" userId="a2fa5610-7f85-41f8-9630-afc02cec4fa9" providerId="ADAL" clId="{57EAAC4B-D155-4C96-A5D6-9BC102C82EFF}" dt="2024-09-02T23:00:14.297" v="3656" actId="478"/>
          <ac:spMkLst>
            <pc:docMk/>
            <pc:sldMk cId="4208571328" sldId="2147471596"/>
            <ac:spMk id="56" creationId="{35E82B8F-D282-2A7B-F725-A6A0C265B0EB}"/>
          </ac:spMkLst>
        </pc:spChg>
        <pc:spChg chg="mod">
          <ac:chgData name="Connor Xu" userId="a2fa5610-7f85-41f8-9630-afc02cec4fa9" providerId="ADAL" clId="{57EAAC4B-D155-4C96-A5D6-9BC102C82EFF}" dt="2024-09-02T22:57:42.266" v="3602" actId="20577"/>
          <ac:spMkLst>
            <pc:docMk/>
            <pc:sldMk cId="4208571328" sldId="2147471596"/>
            <ac:spMk id="67" creationId="{800F51D6-CA61-A0A1-3794-7E280C4D7407}"/>
          </ac:spMkLst>
        </pc:spChg>
        <pc:spChg chg="del">
          <ac:chgData name="Connor Xu" userId="a2fa5610-7f85-41f8-9630-afc02cec4fa9" providerId="ADAL" clId="{57EAAC4B-D155-4C96-A5D6-9BC102C82EFF}" dt="2024-09-02T22:54:19.942" v="3529" actId="478"/>
          <ac:spMkLst>
            <pc:docMk/>
            <pc:sldMk cId="4208571328" sldId="2147471596"/>
            <ac:spMk id="68" creationId="{ED2D2531-9CD8-39BC-2F1A-E53E2AD43A73}"/>
          </ac:spMkLst>
        </pc:spChg>
        <pc:grpChg chg="add del mod">
          <ac:chgData name="Connor Xu" userId="a2fa5610-7f85-41f8-9630-afc02cec4fa9" providerId="ADAL" clId="{57EAAC4B-D155-4C96-A5D6-9BC102C82EFF}" dt="2024-09-04T04:39:50.754" v="10249" actId="165"/>
          <ac:grpSpMkLst>
            <pc:docMk/>
            <pc:sldMk cId="4208571328" sldId="2147471596"/>
            <ac:grpSpMk id="4" creationId="{B9B388CF-BA27-3910-0F58-610312BDD7E6}"/>
          </ac:grpSpMkLst>
        </pc:grpChg>
        <pc:grpChg chg="add del mod">
          <ac:chgData name="Connor Xu" userId="a2fa5610-7f85-41f8-9630-afc02cec4fa9" providerId="ADAL" clId="{57EAAC4B-D155-4C96-A5D6-9BC102C82EFF}" dt="2024-09-04T04:39:50.754" v="10249" actId="165"/>
          <ac:grpSpMkLst>
            <pc:docMk/>
            <pc:sldMk cId="4208571328" sldId="2147471596"/>
            <ac:grpSpMk id="6" creationId="{8E627DF4-CF32-A701-F486-C99CD240CDAF}"/>
          </ac:grpSpMkLst>
        </pc:grpChg>
        <pc:grpChg chg="add del mod">
          <ac:chgData name="Connor Xu" userId="a2fa5610-7f85-41f8-9630-afc02cec4fa9" providerId="ADAL" clId="{57EAAC4B-D155-4C96-A5D6-9BC102C82EFF}" dt="2024-09-04T04:39:50.754" v="10249" actId="165"/>
          <ac:grpSpMkLst>
            <pc:docMk/>
            <pc:sldMk cId="4208571328" sldId="2147471596"/>
            <ac:grpSpMk id="7" creationId="{239B2E12-1F3E-1CFF-2057-EF59E82E1BED}"/>
          </ac:grpSpMkLst>
        </pc:grpChg>
        <pc:grpChg chg="add del mod">
          <ac:chgData name="Connor Xu" userId="a2fa5610-7f85-41f8-9630-afc02cec4fa9" providerId="ADAL" clId="{57EAAC4B-D155-4C96-A5D6-9BC102C82EFF}" dt="2024-09-04T04:39:50.754" v="10249" actId="165"/>
          <ac:grpSpMkLst>
            <pc:docMk/>
            <pc:sldMk cId="4208571328" sldId="2147471596"/>
            <ac:grpSpMk id="10" creationId="{FAA8B31D-533C-422B-5643-27FA961CF2BF}"/>
          </ac:grpSpMkLst>
        </pc:grpChg>
        <pc:grpChg chg="add del mod">
          <ac:chgData name="Connor Xu" userId="a2fa5610-7f85-41f8-9630-afc02cec4fa9" providerId="ADAL" clId="{57EAAC4B-D155-4C96-A5D6-9BC102C82EFF}" dt="2024-09-04T04:39:50.754" v="10249" actId="165"/>
          <ac:grpSpMkLst>
            <pc:docMk/>
            <pc:sldMk cId="4208571328" sldId="2147471596"/>
            <ac:grpSpMk id="11" creationId="{33685415-8249-AC4D-9579-25D9F2F85FAA}"/>
          </ac:grpSpMkLst>
        </pc:grpChg>
        <pc:grpChg chg="add del mod">
          <ac:chgData name="Connor Xu" userId="a2fa5610-7f85-41f8-9630-afc02cec4fa9" providerId="ADAL" clId="{57EAAC4B-D155-4C96-A5D6-9BC102C82EFF}" dt="2024-09-04T04:39:50.754" v="10249" actId="165"/>
          <ac:grpSpMkLst>
            <pc:docMk/>
            <pc:sldMk cId="4208571328" sldId="2147471596"/>
            <ac:grpSpMk id="12" creationId="{7A398421-773A-018A-11CA-49D568BC9ECB}"/>
          </ac:grpSpMkLst>
        </pc:grpChg>
        <pc:grpChg chg="add mod">
          <ac:chgData name="Connor Xu" userId="a2fa5610-7f85-41f8-9630-afc02cec4fa9" providerId="ADAL" clId="{57EAAC4B-D155-4C96-A5D6-9BC102C82EFF}" dt="2024-09-04T04:40:39.656" v="10274" actId="555"/>
          <ac:grpSpMkLst>
            <pc:docMk/>
            <pc:sldMk cId="4208571328" sldId="2147471596"/>
            <ac:grpSpMk id="13" creationId="{FA358575-AA0A-3F34-093C-EA852550E071}"/>
          </ac:grpSpMkLst>
        </pc:grpChg>
        <pc:grpChg chg="add mod">
          <ac:chgData name="Connor Xu" userId="a2fa5610-7f85-41f8-9630-afc02cec4fa9" providerId="ADAL" clId="{57EAAC4B-D155-4C96-A5D6-9BC102C82EFF}" dt="2024-09-04T04:40:45.138" v="10275" actId="465"/>
          <ac:grpSpMkLst>
            <pc:docMk/>
            <pc:sldMk cId="4208571328" sldId="2147471596"/>
            <ac:grpSpMk id="14" creationId="{9FA7CE40-9B92-F878-5AC4-A5FF1DC99DB6}"/>
          </ac:grpSpMkLst>
        </pc:grpChg>
        <pc:grpChg chg="add mod">
          <ac:chgData name="Connor Xu" userId="a2fa5610-7f85-41f8-9630-afc02cec4fa9" providerId="ADAL" clId="{57EAAC4B-D155-4C96-A5D6-9BC102C82EFF}" dt="2024-09-04T04:40:23.188" v="10270" actId="164"/>
          <ac:grpSpMkLst>
            <pc:docMk/>
            <pc:sldMk cId="4208571328" sldId="2147471596"/>
            <ac:grpSpMk id="15" creationId="{05BDE9E4-AC1A-435E-ED44-47DBCDC0E390}"/>
          </ac:grpSpMkLst>
        </pc:grpChg>
        <pc:grpChg chg="add mod">
          <ac:chgData name="Connor Xu" userId="a2fa5610-7f85-41f8-9630-afc02cec4fa9" providerId="ADAL" clId="{57EAAC4B-D155-4C96-A5D6-9BC102C82EFF}" dt="2024-09-04T04:40:27.443" v="10271" actId="164"/>
          <ac:grpSpMkLst>
            <pc:docMk/>
            <pc:sldMk cId="4208571328" sldId="2147471596"/>
            <ac:grpSpMk id="16" creationId="{7A1D2D98-F35A-9CAD-BFE3-E5262A316622}"/>
          </ac:grpSpMkLst>
        </pc:grpChg>
        <pc:grpChg chg="add mod">
          <ac:chgData name="Connor Xu" userId="a2fa5610-7f85-41f8-9630-afc02cec4fa9" providerId="ADAL" clId="{57EAAC4B-D155-4C96-A5D6-9BC102C82EFF}" dt="2024-09-04T04:40:50.497" v="10278" actId="465"/>
          <ac:grpSpMkLst>
            <pc:docMk/>
            <pc:sldMk cId="4208571328" sldId="2147471596"/>
            <ac:grpSpMk id="17" creationId="{005D1366-4113-57FB-46CE-446E33ECEA5A}"/>
          </ac:grpSpMkLst>
        </pc:grpChg>
        <pc:grpChg chg="add mod">
          <ac:chgData name="Connor Xu" userId="a2fa5610-7f85-41f8-9630-afc02cec4fa9" providerId="ADAL" clId="{57EAAC4B-D155-4C96-A5D6-9BC102C82EFF}" dt="2024-09-04T04:40:39.656" v="10274" actId="555"/>
          <ac:grpSpMkLst>
            <pc:docMk/>
            <pc:sldMk cId="4208571328" sldId="2147471596"/>
            <ac:grpSpMk id="18" creationId="{8E33B018-772B-FABC-526C-FBE90C1CD72F}"/>
          </ac:grpSpMkLst>
        </pc:grpChg>
      </pc:sldChg>
      <pc:sldChg chg="modSp mod">
        <pc:chgData name="Connor Xu" userId="a2fa5610-7f85-41f8-9630-afc02cec4fa9" providerId="ADAL" clId="{57EAAC4B-D155-4C96-A5D6-9BC102C82EFF}" dt="2024-09-04T04:34:24.802" v="10137" actId="113"/>
        <pc:sldMkLst>
          <pc:docMk/>
          <pc:sldMk cId="2083619045" sldId="2147471602"/>
        </pc:sldMkLst>
        <pc:spChg chg="mod">
          <ac:chgData name="Connor Xu" userId="a2fa5610-7f85-41f8-9630-afc02cec4fa9" providerId="ADAL" clId="{57EAAC4B-D155-4C96-A5D6-9BC102C82EFF}" dt="2024-09-04T04:34:24.802" v="10137" actId="113"/>
          <ac:spMkLst>
            <pc:docMk/>
            <pc:sldMk cId="2083619045" sldId="2147471602"/>
            <ac:spMk id="4" creationId="{74695963-93D3-CEED-3211-EA22860FE331}"/>
          </ac:spMkLst>
        </pc:spChg>
        <pc:spChg chg="mod">
          <ac:chgData name="Connor Xu" userId="a2fa5610-7f85-41f8-9630-afc02cec4fa9" providerId="ADAL" clId="{57EAAC4B-D155-4C96-A5D6-9BC102C82EFF}" dt="2024-09-04T04:33:21.996" v="10135" actId="2711"/>
          <ac:spMkLst>
            <pc:docMk/>
            <pc:sldMk cId="2083619045" sldId="2147471602"/>
            <ac:spMk id="5" creationId="{00000000-0000-0000-0000-000000000000}"/>
          </ac:spMkLst>
        </pc:spChg>
      </pc:sldChg>
      <pc:sldChg chg="modSp del mod">
        <pc:chgData name="Connor Xu" userId="a2fa5610-7f85-41f8-9630-afc02cec4fa9" providerId="ADAL" clId="{57EAAC4B-D155-4C96-A5D6-9BC102C82EFF}" dt="2024-09-02T23:22:19.632" v="4205" actId="47"/>
        <pc:sldMkLst>
          <pc:docMk/>
          <pc:sldMk cId="2973198158" sldId="2147471621"/>
        </pc:sldMkLst>
        <pc:spChg chg="mod">
          <ac:chgData name="Connor Xu" userId="a2fa5610-7f85-41f8-9630-afc02cec4fa9" providerId="ADAL" clId="{57EAAC4B-D155-4C96-A5D6-9BC102C82EFF}" dt="2024-09-02T23:17:00.210" v="4126" actId="20577"/>
          <ac:spMkLst>
            <pc:docMk/>
            <pc:sldMk cId="2973198158" sldId="2147471621"/>
            <ac:spMk id="4" creationId="{63B853BF-D0CC-A4EF-CF25-DFA6BF6720AE}"/>
          </ac:spMkLst>
        </pc:spChg>
        <pc:spChg chg="mod">
          <ac:chgData name="Connor Xu" userId="a2fa5610-7f85-41f8-9630-afc02cec4fa9" providerId="ADAL" clId="{57EAAC4B-D155-4C96-A5D6-9BC102C82EFF}" dt="2024-09-02T23:21:21.734" v="4186" actId="1035"/>
          <ac:spMkLst>
            <pc:docMk/>
            <pc:sldMk cId="2973198158" sldId="2147471621"/>
            <ac:spMk id="7" creationId="{8C365A0B-2556-628A-1B10-B9272F0E87E1}"/>
          </ac:spMkLst>
        </pc:spChg>
        <pc:spChg chg="mod">
          <ac:chgData name="Connor Xu" userId="a2fa5610-7f85-41f8-9630-afc02cec4fa9" providerId="ADAL" clId="{57EAAC4B-D155-4C96-A5D6-9BC102C82EFF}" dt="2024-09-02T23:21:21.734" v="4186" actId="1035"/>
          <ac:spMkLst>
            <pc:docMk/>
            <pc:sldMk cId="2973198158" sldId="2147471621"/>
            <ac:spMk id="11" creationId="{B5B1DC6F-EFD5-F289-B85B-DCDBF3B2C4A7}"/>
          </ac:spMkLst>
        </pc:spChg>
        <pc:spChg chg="mod">
          <ac:chgData name="Connor Xu" userId="a2fa5610-7f85-41f8-9630-afc02cec4fa9" providerId="ADAL" clId="{57EAAC4B-D155-4C96-A5D6-9BC102C82EFF}" dt="2024-09-02T23:21:21.734" v="4186" actId="1035"/>
          <ac:spMkLst>
            <pc:docMk/>
            <pc:sldMk cId="2973198158" sldId="2147471621"/>
            <ac:spMk id="12" creationId="{A22C8816-E021-3938-6380-200EB8D4FBF9}"/>
          </ac:spMkLst>
        </pc:spChg>
        <pc:spChg chg="mod">
          <ac:chgData name="Connor Xu" userId="a2fa5610-7f85-41f8-9630-afc02cec4fa9" providerId="ADAL" clId="{57EAAC4B-D155-4C96-A5D6-9BC102C82EFF}" dt="2024-09-02T23:21:21.734" v="4186" actId="1035"/>
          <ac:spMkLst>
            <pc:docMk/>
            <pc:sldMk cId="2973198158" sldId="2147471621"/>
            <ac:spMk id="13" creationId="{5AB3B52E-8117-B4AB-A0FC-5D7679F31D30}"/>
          </ac:spMkLst>
        </pc:spChg>
        <pc:spChg chg="mod">
          <ac:chgData name="Connor Xu" userId="a2fa5610-7f85-41f8-9630-afc02cec4fa9" providerId="ADAL" clId="{57EAAC4B-D155-4C96-A5D6-9BC102C82EFF}" dt="2024-09-02T23:21:16.404" v="4171" actId="20577"/>
          <ac:spMkLst>
            <pc:docMk/>
            <pc:sldMk cId="2973198158" sldId="2147471621"/>
            <ac:spMk id="14" creationId="{6189AE8B-1115-DE05-691B-C17C801FD947}"/>
          </ac:spMkLst>
        </pc:spChg>
        <pc:spChg chg="mod">
          <ac:chgData name="Connor Xu" userId="a2fa5610-7f85-41f8-9630-afc02cec4fa9" providerId="ADAL" clId="{57EAAC4B-D155-4C96-A5D6-9BC102C82EFF}" dt="2024-09-02T23:21:21.734" v="4186" actId="1035"/>
          <ac:spMkLst>
            <pc:docMk/>
            <pc:sldMk cId="2973198158" sldId="2147471621"/>
            <ac:spMk id="15" creationId="{272A743F-670D-D0EC-2C3E-E1351986464E}"/>
          </ac:spMkLst>
        </pc:spChg>
        <pc:spChg chg="mod">
          <ac:chgData name="Connor Xu" userId="a2fa5610-7f85-41f8-9630-afc02cec4fa9" providerId="ADAL" clId="{57EAAC4B-D155-4C96-A5D6-9BC102C82EFF}" dt="2024-09-02T23:21:21.734" v="4186" actId="1035"/>
          <ac:spMkLst>
            <pc:docMk/>
            <pc:sldMk cId="2973198158" sldId="2147471621"/>
            <ac:spMk id="19" creationId="{C62366E0-78A6-D3FF-6E46-3A743A8F223F}"/>
          </ac:spMkLst>
        </pc:spChg>
        <pc:spChg chg="mod">
          <ac:chgData name="Connor Xu" userId="a2fa5610-7f85-41f8-9630-afc02cec4fa9" providerId="ADAL" clId="{57EAAC4B-D155-4C96-A5D6-9BC102C82EFF}" dt="2024-09-02T23:21:21.734" v="4186" actId="1035"/>
          <ac:spMkLst>
            <pc:docMk/>
            <pc:sldMk cId="2973198158" sldId="2147471621"/>
            <ac:spMk id="23" creationId="{FAED6CEF-32B8-933A-1190-AF8549408C58}"/>
          </ac:spMkLst>
        </pc:spChg>
        <pc:spChg chg="mod">
          <ac:chgData name="Connor Xu" userId="a2fa5610-7f85-41f8-9630-afc02cec4fa9" providerId="ADAL" clId="{57EAAC4B-D155-4C96-A5D6-9BC102C82EFF}" dt="2024-09-02T23:21:21.734" v="4186" actId="1035"/>
          <ac:spMkLst>
            <pc:docMk/>
            <pc:sldMk cId="2973198158" sldId="2147471621"/>
            <ac:spMk id="25" creationId="{F6B0A2AF-E519-A6EC-679A-9E8C9874C1A3}"/>
          </ac:spMkLst>
        </pc:spChg>
        <pc:spChg chg="mod">
          <ac:chgData name="Connor Xu" userId="a2fa5610-7f85-41f8-9630-afc02cec4fa9" providerId="ADAL" clId="{57EAAC4B-D155-4C96-A5D6-9BC102C82EFF}" dt="2024-09-02T23:21:21.734" v="4186" actId="1035"/>
          <ac:spMkLst>
            <pc:docMk/>
            <pc:sldMk cId="2973198158" sldId="2147471621"/>
            <ac:spMk id="26" creationId="{0342D327-98E6-1A15-B7E9-7A2427DA09B9}"/>
          </ac:spMkLst>
        </pc:spChg>
        <pc:spChg chg="mod">
          <ac:chgData name="Connor Xu" userId="a2fa5610-7f85-41f8-9630-afc02cec4fa9" providerId="ADAL" clId="{57EAAC4B-D155-4C96-A5D6-9BC102C82EFF}" dt="2024-09-02T23:21:21.734" v="4186" actId="1035"/>
          <ac:spMkLst>
            <pc:docMk/>
            <pc:sldMk cId="2973198158" sldId="2147471621"/>
            <ac:spMk id="27" creationId="{1C3E5CB2-B07B-5AEA-17E3-E9BC3360C1CA}"/>
          </ac:spMkLst>
        </pc:spChg>
        <pc:spChg chg="mod">
          <ac:chgData name="Connor Xu" userId="a2fa5610-7f85-41f8-9630-afc02cec4fa9" providerId="ADAL" clId="{57EAAC4B-D155-4C96-A5D6-9BC102C82EFF}" dt="2024-09-02T23:21:21.734" v="4186" actId="1035"/>
          <ac:spMkLst>
            <pc:docMk/>
            <pc:sldMk cId="2973198158" sldId="2147471621"/>
            <ac:spMk id="28" creationId="{B8825A28-890B-9859-CE85-9C70C10E2431}"/>
          </ac:spMkLst>
        </pc:spChg>
        <pc:spChg chg="mod">
          <ac:chgData name="Connor Xu" userId="a2fa5610-7f85-41f8-9630-afc02cec4fa9" providerId="ADAL" clId="{57EAAC4B-D155-4C96-A5D6-9BC102C82EFF}" dt="2024-09-02T23:21:21.734" v="4186" actId="1035"/>
          <ac:spMkLst>
            <pc:docMk/>
            <pc:sldMk cId="2973198158" sldId="2147471621"/>
            <ac:spMk id="29" creationId="{AE2F8334-DBA2-4391-A242-1D6034A1FA21}"/>
          </ac:spMkLst>
        </pc:spChg>
      </pc:sldChg>
      <pc:sldChg chg="addSp delSp modSp mod">
        <pc:chgData name="Connor Xu" userId="a2fa5610-7f85-41f8-9630-afc02cec4fa9" providerId="ADAL" clId="{57EAAC4B-D155-4C96-A5D6-9BC102C82EFF}" dt="2024-09-04T04:37:21.101" v="10199" actId="1036"/>
        <pc:sldMkLst>
          <pc:docMk/>
          <pc:sldMk cId="2887098628" sldId="2147471648"/>
        </pc:sldMkLst>
        <pc:spChg chg="mod">
          <ac:chgData name="Connor Xu" userId="a2fa5610-7f85-41f8-9630-afc02cec4fa9" providerId="ADAL" clId="{57EAAC4B-D155-4C96-A5D6-9BC102C82EFF}" dt="2024-09-04T04:30:26.916" v="10132" actId="2711"/>
          <ac:spMkLst>
            <pc:docMk/>
            <pc:sldMk cId="2887098628" sldId="2147471648"/>
            <ac:spMk id="3" creationId="{80CE8119-45A9-B497-B743-3798888405B8}"/>
          </ac:spMkLst>
        </pc:spChg>
        <pc:spChg chg="add mod">
          <ac:chgData name="Connor Xu" userId="a2fa5610-7f85-41f8-9630-afc02cec4fa9" providerId="ADAL" clId="{57EAAC4B-D155-4C96-A5D6-9BC102C82EFF}" dt="2024-09-03T03:00:01.455" v="10102" actId="20577"/>
          <ac:spMkLst>
            <pc:docMk/>
            <pc:sldMk cId="2887098628" sldId="2147471648"/>
            <ac:spMk id="4" creationId="{5BE56102-969D-60C5-E08D-D27432E3F129}"/>
          </ac:spMkLst>
        </pc:spChg>
        <pc:spChg chg="mod">
          <ac:chgData name="Connor Xu" userId="a2fa5610-7f85-41f8-9630-afc02cec4fa9" providerId="ADAL" clId="{57EAAC4B-D155-4C96-A5D6-9BC102C82EFF}" dt="2024-09-04T04:36:40.871" v="10186" actId="14100"/>
          <ac:spMkLst>
            <pc:docMk/>
            <pc:sldMk cId="2887098628" sldId="2147471648"/>
            <ac:spMk id="5" creationId="{414FB662-191A-6AE4-B396-41A4E291EEB6}"/>
          </ac:spMkLst>
        </pc:spChg>
        <pc:spChg chg="add mod">
          <ac:chgData name="Connor Xu" userId="a2fa5610-7f85-41f8-9630-afc02cec4fa9" providerId="ADAL" clId="{57EAAC4B-D155-4C96-A5D6-9BC102C82EFF}" dt="2024-09-02T07:20:27.900" v="1808" actId="571"/>
          <ac:spMkLst>
            <pc:docMk/>
            <pc:sldMk cId="2887098628" sldId="2147471648"/>
            <ac:spMk id="6" creationId="{363EEF31-6FB5-9D39-B1C0-74B9415AFDEA}"/>
          </ac:spMkLst>
        </pc:spChg>
        <pc:spChg chg="del">
          <ac:chgData name="Connor Xu" userId="a2fa5610-7f85-41f8-9630-afc02cec4fa9" providerId="ADAL" clId="{57EAAC4B-D155-4C96-A5D6-9BC102C82EFF}" dt="2024-09-02T06:45:15.755" v="635" actId="478"/>
          <ac:spMkLst>
            <pc:docMk/>
            <pc:sldMk cId="2887098628" sldId="2147471648"/>
            <ac:spMk id="9" creationId="{FEC86742-2DCC-8A0C-1C09-3A144DC147FE}"/>
          </ac:spMkLst>
        </pc:spChg>
        <pc:spChg chg="mod">
          <ac:chgData name="Connor Xu" userId="a2fa5610-7f85-41f8-9630-afc02cec4fa9" providerId="ADAL" clId="{57EAAC4B-D155-4C96-A5D6-9BC102C82EFF}" dt="2024-09-02T23:29:08.141" v="4466" actId="403"/>
          <ac:spMkLst>
            <pc:docMk/>
            <pc:sldMk cId="2887098628" sldId="2147471648"/>
            <ac:spMk id="13" creationId="{0B97B9F7-FF65-85B1-EEB7-8A841D8AA593}"/>
          </ac:spMkLst>
        </pc:spChg>
        <pc:spChg chg="add del mod">
          <ac:chgData name="Connor Xu" userId="a2fa5610-7f85-41f8-9630-afc02cec4fa9" providerId="ADAL" clId="{57EAAC4B-D155-4C96-A5D6-9BC102C82EFF}" dt="2024-09-04T04:37:16.470" v="10187" actId="20577"/>
          <ac:spMkLst>
            <pc:docMk/>
            <pc:sldMk cId="2887098628" sldId="2147471648"/>
            <ac:spMk id="15" creationId="{5A26544D-C393-6411-1B4F-4C4D5606DA2E}"/>
          </ac:spMkLst>
        </pc:spChg>
        <pc:spChg chg="del">
          <ac:chgData name="Connor Xu" userId="a2fa5610-7f85-41f8-9630-afc02cec4fa9" providerId="ADAL" clId="{57EAAC4B-D155-4C96-A5D6-9BC102C82EFF}" dt="2024-09-02T06:38:57.253" v="138" actId="478"/>
          <ac:spMkLst>
            <pc:docMk/>
            <pc:sldMk cId="2887098628" sldId="2147471648"/>
            <ac:spMk id="19" creationId="{D2860AE9-3C37-D225-64F0-ABD032FC13B3}"/>
          </ac:spMkLst>
        </pc:spChg>
        <pc:spChg chg="mod">
          <ac:chgData name="Connor Xu" userId="a2fa5610-7f85-41f8-9630-afc02cec4fa9" providerId="ADAL" clId="{57EAAC4B-D155-4C96-A5D6-9BC102C82EFF}" dt="2024-09-04T04:36:01.845" v="10144" actId="255"/>
          <ac:spMkLst>
            <pc:docMk/>
            <pc:sldMk cId="2887098628" sldId="2147471648"/>
            <ac:spMk id="21" creationId="{FB2D641F-7EE6-BED9-C5FC-DF6B9F5C3E5D}"/>
          </ac:spMkLst>
        </pc:spChg>
        <pc:spChg chg="mod">
          <ac:chgData name="Connor Xu" userId="a2fa5610-7f85-41f8-9630-afc02cec4fa9" providerId="ADAL" clId="{57EAAC4B-D155-4C96-A5D6-9BC102C82EFF}" dt="2024-09-04T04:36:38.502" v="10185" actId="14100"/>
          <ac:spMkLst>
            <pc:docMk/>
            <pc:sldMk cId="2887098628" sldId="2147471648"/>
            <ac:spMk id="24" creationId="{A68786C5-0F08-67B4-EF2E-B2FD83DED675}"/>
          </ac:spMkLst>
        </pc:spChg>
        <pc:spChg chg="mod">
          <ac:chgData name="Connor Xu" userId="a2fa5610-7f85-41f8-9630-afc02cec4fa9" providerId="ADAL" clId="{57EAAC4B-D155-4C96-A5D6-9BC102C82EFF}" dt="2024-09-02T23:29:08.141" v="4466" actId="403"/>
          <ac:spMkLst>
            <pc:docMk/>
            <pc:sldMk cId="2887098628" sldId="2147471648"/>
            <ac:spMk id="25" creationId="{7468EDA2-3039-B298-282F-E1688E17F2A3}"/>
          </ac:spMkLst>
        </pc:spChg>
        <pc:spChg chg="del">
          <ac:chgData name="Connor Xu" userId="a2fa5610-7f85-41f8-9630-afc02cec4fa9" providerId="ADAL" clId="{57EAAC4B-D155-4C96-A5D6-9BC102C82EFF}" dt="2024-09-02T06:42:37.611" v="469" actId="478"/>
          <ac:spMkLst>
            <pc:docMk/>
            <pc:sldMk cId="2887098628" sldId="2147471648"/>
            <ac:spMk id="27" creationId="{AEA5C639-BA12-DE73-D44D-B729A06D9A93}"/>
          </ac:spMkLst>
        </pc:spChg>
        <pc:spChg chg="del">
          <ac:chgData name="Connor Xu" userId="a2fa5610-7f85-41f8-9630-afc02cec4fa9" providerId="ADAL" clId="{57EAAC4B-D155-4C96-A5D6-9BC102C82EFF}" dt="2024-09-02T06:42:37.611" v="469" actId="478"/>
          <ac:spMkLst>
            <pc:docMk/>
            <pc:sldMk cId="2887098628" sldId="2147471648"/>
            <ac:spMk id="28" creationId="{7961C939-47A3-AC57-1D78-853DBCF02E98}"/>
          </ac:spMkLst>
        </pc:spChg>
        <pc:grpChg chg="mod">
          <ac:chgData name="Connor Xu" userId="a2fa5610-7f85-41f8-9630-afc02cec4fa9" providerId="ADAL" clId="{57EAAC4B-D155-4C96-A5D6-9BC102C82EFF}" dt="2024-09-04T04:37:21.101" v="10199" actId="1036"/>
          <ac:grpSpMkLst>
            <pc:docMk/>
            <pc:sldMk cId="2887098628" sldId="2147471648"/>
            <ac:grpSpMk id="2" creationId="{783E8177-4E17-C2F0-B7A6-5F4AAF0C5FFD}"/>
          </ac:grpSpMkLst>
        </pc:grpChg>
        <pc:grpChg chg="del">
          <ac:chgData name="Connor Xu" userId="a2fa5610-7f85-41f8-9630-afc02cec4fa9" providerId="ADAL" clId="{57EAAC4B-D155-4C96-A5D6-9BC102C82EFF}" dt="2024-09-02T06:38:57.253" v="138" actId="478"/>
          <ac:grpSpMkLst>
            <pc:docMk/>
            <pc:sldMk cId="2887098628" sldId="2147471648"/>
            <ac:grpSpMk id="18" creationId="{C27CAC66-62BD-F798-31EE-2A285CBD3569}"/>
          </ac:grpSpMkLst>
        </pc:grpChg>
        <pc:grpChg chg="del">
          <ac:chgData name="Connor Xu" userId="a2fa5610-7f85-41f8-9630-afc02cec4fa9" providerId="ADAL" clId="{57EAAC4B-D155-4C96-A5D6-9BC102C82EFF}" dt="2024-09-02T06:42:37.611" v="469" actId="478"/>
          <ac:grpSpMkLst>
            <pc:docMk/>
            <pc:sldMk cId="2887098628" sldId="2147471648"/>
            <ac:grpSpMk id="26" creationId="{D3A1C014-C3EB-FF06-80DF-A27C1B48681C}"/>
          </ac:grpSpMkLst>
        </pc:grpChg>
      </pc:sldChg>
      <pc:sldChg chg="addSp delSp modSp mod">
        <pc:chgData name="Connor Xu" userId="a2fa5610-7f85-41f8-9630-afc02cec4fa9" providerId="ADAL" clId="{57EAAC4B-D155-4C96-A5D6-9BC102C82EFF}" dt="2024-09-04T04:46:07.098" v="10345" actId="403"/>
        <pc:sldMkLst>
          <pc:docMk/>
          <pc:sldMk cId="1234428817" sldId="2147471653"/>
        </pc:sldMkLst>
        <pc:spChg chg="mod">
          <ac:chgData name="Connor Xu" userId="a2fa5610-7f85-41f8-9630-afc02cec4fa9" providerId="ADAL" clId="{57EAAC4B-D155-4C96-A5D6-9BC102C82EFF}" dt="2024-09-02T23:52:04.685" v="5055" actId="20577"/>
          <ac:spMkLst>
            <pc:docMk/>
            <pc:sldMk cId="1234428817" sldId="2147471653"/>
            <ac:spMk id="2" creationId="{421CE8BB-9964-A834-990C-0EEC2F4615AC}"/>
          </ac:spMkLst>
        </pc:spChg>
        <pc:spChg chg="add mod">
          <ac:chgData name="Connor Xu" userId="a2fa5610-7f85-41f8-9630-afc02cec4fa9" providerId="ADAL" clId="{57EAAC4B-D155-4C96-A5D6-9BC102C82EFF}" dt="2024-09-02T23:55:42.201" v="5679" actId="571"/>
          <ac:spMkLst>
            <pc:docMk/>
            <pc:sldMk cId="1234428817" sldId="2147471653"/>
            <ac:spMk id="3" creationId="{8F1ACD9A-5EE9-3153-312B-0F42898E7091}"/>
          </ac:spMkLst>
        </pc:spChg>
        <pc:spChg chg="del mod">
          <ac:chgData name="Connor Xu" userId="a2fa5610-7f85-41f8-9630-afc02cec4fa9" providerId="ADAL" clId="{57EAAC4B-D155-4C96-A5D6-9BC102C82EFF}" dt="2024-09-02T23:51:46.459" v="4985" actId="478"/>
          <ac:spMkLst>
            <pc:docMk/>
            <pc:sldMk cId="1234428817" sldId="2147471653"/>
            <ac:spMk id="7" creationId="{8ACE17F9-CFF4-F7A5-1ABB-C06ACC99195C}"/>
          </ac:spMkLst>
        </pc:spChg>
        <pc:spChg chg="del">
          <ac:chgData name="Connor Xu" userId="a2fa5610-7f85-41f8-9630-afc02cec4fa9" providerId="ADAL" clId="{57EAAC4B-D155-4C96-A5D6-9BC102C82EFF}" dt="2024-09-02T23:51:43.136" v="4982" actId="478"/>
          <ac:spMkLst>
            <pc:docMk/>
            <pc:sldMk cId="1234428817" sldId="2147471653"/>
            <ac:spMk id="12" creationId="{8F3F0C1C-6D78-F0E1-B399-70B9EF6CF5DB}"/>
          </ac:spMkLst>
        </pc:spChg>
        <pc:spChg chg="mod">
          <ac:chgData name="Connor Xu" userId="a2fa5610-7f85-41f8-9630-afc02cec4fa9" providerId="ADAL" clId="{57EAAC4B-D155-4C96-A5D6-9BC102C82EFF}" dt="2024-09-02T23:52:44.077" v="5282" actId="403"/>
          <ac:spMkLst>
            <pc:docMk/>
            <pc:sldMk cId="1234428817" sldId="2147471653"/>
            <ac:spMk id="15" creationId="{88044BCB-EFE0-3A33-CE60-23C8FDEAF27B}"/>
          </ac:spMkLst>
        </pc:spChg>
        <pc:spChg chg="mod">
          <ac:chgData name="Connor Xu" userId="a2fa5610-7f85-41f8-9630-afc02cec4fa9" providerId="ADAL" clId="{57EAAC4B-D155-4C96-A5D6-9BC102C82EFF}" dt="2024-09-02T23:55:42.201" v="5679" actId="571"/>
          <ac:spMkLst>
            <pc:docMk/>
            <pc:sldMk cId="1234428817" sldId="2147471653"/>
            <ac:spMk id="16" creationId="{57C8889D-0D77-1A87-79D8-6DD53F287691}"/>
          </ac:spMkLst>
        </pc:spChg>
        <pc:spChg chg="mod">
          <ac:chgData name="Connor Xu" userId="a2fa5610-7f85-41f8-9630-afc02cec4fa9" providerId="ADAL" clId="{57EAAC4B-D155-4C96-A5D6-9BC102C82EFF}" dt="2024-09-02T23:55:42.201" v="5679" actId="571"/>
          <ac:spMkLst>
            <pc:docMk/>
            <pc:sldMk cId="1234428817" sldId="2147471653"/>
            <ac:spMk id="17" creationId="{8FB04B04-90C1-DB3D-BA9A-9BA4944A0FB0}"/>
          </ac:spMkLst>
        </pc:spChg>
        <pc:spChg chg="mod">
          <ac:chgData name="Connor Xu" userId="a2fa5610-7f85-41f8-9630-afc02cec4fa9" providerId="ADAL" clId="{57EAAC4B-D155-4C96-A5D6-9BC102C82EFF}" dt="2024-09-02T23:55:42.201" v="5679" actId="571"/>
          <ac:spMkLst>
            <pc:docMk/>
            <pc:sldMk cId="1234428817" sldId="2147471653"/>
            <ac:spMk id="18" creationId="{4D7922B6-FF71-1D89-A077-F31397CDE2FF}"/>
          </ac:spMkLst>
        </pc:spChg>
        <pc:spChg chg="mod">
          <ac:chgData name="Connor Xu" userId="a2fa5610-7f85-41f8-9630-afc02cec4fa9" providerId="ADAL" clId="{57EAAC4B-D155-4C96-A5D6-9BC102C82EFF}" dt="2024-09-02T23:55:42.201" v="5679" actId="571"/>
          <ac:spMkLst>
            <pc:docMk/>
            <pc:sldMk cId="1234428817" sldId="2147471653"/>
            <ac:spMk id="19" creationId="{FE7F5BA4-0C56-9280-638F-F061DBF2ABAB}"/>
          </ac:spMkLst>
        </pc:spChg>
        <pc:spChg chg="add mod">
          <ac:chgData name="Connor Xu" userId="a2fa5610-7f85-41f8-9630-afc02cec4fa9" providerId="ADAL" clId="{57EAAC4B-D155-4C96-A5D6-9BC102C82EFF}" dt="2024-09-02T23:55:42.201" v="5679" actId="571"/>
          <ac:spMkLst>
            <pc:docMk/>
            <pc:sldMk cId="1234428817" sldId="2147471653"/>
            <ac:spMk id="20" creationId="{CF24746B-6D9E-2B20-B080-5F52C4C66D79}"/>
          </ac:spMkLst>
        </pc:spChg>
        <pc:spChg chg="add mod">
          <ac:chgData name="Connor Xu" userId="a2fa5610-7f85-41f8-9630-afc02cec4fa9" providerId="ADAL" clId="{57EAAC4B-D155-4C96-A5D6-9BC102C82EFF}" dt="2024-09-02T23:55:41.999" v="5678" actId="571"/>
          <ac:spMkLst>
            <pc:docMk/>
            <pc:sldMk cId="1234428817" sldId="2147471653"/>
            <ac:spMk id="21" creationId="{BFE56F2F-C429-6110-1461-377C483C5612}"/>
          </ac:spMkLst>
        </pc:spChg>
        <pc:spChg chg="mod">
          <ac:chgData name="Connor Xu" userId="a2fa5610-7f85-41f8-9630-afc02cec4fa9" providerId="ADAL" clId="{57EAAC4B-D155-4C96-A5D6-9BC102C82EFF}" dt="2024-09-02T23:55:41.999" v="5678" actId="571"/>
          <ac:spMkLst>
            <pc:docMk/>
            <pc:sldMk cId="1234428817" sldId="2147471653"/>
            <ac:spMk id="25" creationId="{A87AF652-BA63-7004-FA61-A24D04A70ECA}"/>
          </ac:spMkLst>
        </pc:spChg>
        <pc:spChg chg="mod">
          <ac:chgData name="Connor Xu" userId="a2fa5610-7f85-41f8-9630-afc02cec4fa9" providerId="ADAL" clId="{57EAAC4B-D155-4C96-A5D6-9BC102C82EFF}" dt="2024-09-02T23:55:41.999" v="5678" actId="571"/>
          <ac:spMkLst>
            <pc:docMk/>
            <pc:sldMk cId="1234428817" sldId="2147471653"/>
            <ac:spMk id="26" creationId="{5794CFB7-6EA2-BAD5-C220-97A717E7125B}"/>
          </ac:spMkLst>
        </pc:spChg>
        <pc:spChg chg="mod">
          <ac:chgData name="Connor Xu" userId="a2fa5610-7f85-41f8-9630-afc02cec4fa9" providerId="ADAL" clId="{57EAAC4B-D155-4C96-A5D6-9BC102C82EFF}" dt="2024-09-02T23:55:41.999" v="5678" actId="571"/>
          <ac:spMkLst>
            <pc:docMk/>
            <pc:sldMk cId="1234428817" sldId="2147471653"/>
            <ac:spMk id="27" creationId="{7EBA933F-1404-24F2-A658-81BD155CEF29}"/>
          </ac:spMkLst>
        </pc:spChg>
        <pc:spChg chg="mod">
          <ac:chgData name="Connor Xu" userId="a2fa5610-7f85-41f8-9630-afc02cec4fa9" providerId="ADAL" clId="{57EAAC4B-D155-4C96-A5D6-9BC102C82EFF}" dt="2024-09-02T23:55:41.999" v="5678" actId="571"/>
          <ac:spMkLst>
            <pc:docMk/>
            <pc:sldMk cId="1234428817" sldId="2147471653"/>
            <ac:spMk id="28" creationId="{290F7616-F59F-8D45-C4C5-04BB5E03DA87}"/>
          </ac:spMkLst>
        </pc:spChg>
        <pc:spChg chg="add mod">
          <ac:chgData name="Connor Xu" userId="a2fa5610-7f85-41f8-9630-afc02cec4fa9" providerId="ADAL" clId="{57EAAC4B-D155-4C96-A5D6-9BC102C82EFF}" dt="2024-09-02T23:55:41.999" v="5678" actId="571"/>
          <ac:spMkLst>
            <pc:docMk/>
            <pc:sldMk cId="1234428817" sldId="2147471653"/>
            <ac:spMk id="29" creationId="{C9C1FFB8-765A-ABD3-E545-0019352A8AC3}"/>
          </ac:spMkLst>
        </pc:spChg>
        <pc:spChg chg="mod topLvl">
          <ac:chgData name="Connor Xu" userId="a2fa5610-7f85-41f8-9630-afc02cec4fa9" providerId="ADAL" clId="{57EAAC4B-D155-4C96-A5D6-9BC102C82EFF}" dt="2024-09-04T04:46:04.555" v="10344" actId="403"/>
          <ac:spMkLst>
            <pc:docMk/>
            <pc:sldMk cId="1234428817" sldId="2147471653"/>
            <ac:spMk id="30" creationId="{189870B5-3BD3-B1B8-E723-ED7702045A6C}"/>
          </ac:spMkLst>
        </pc:spChg>
        <pc:spChg chg="add mod topLvl">
          <ac:chgData name="Connor Xu" userId="a2fa5610-7f85-41f8-9630-afc02cec4fa9" providerId="ADAL" clId="{57EAAC4B-D155-4C96-A5D6-9BC102C82EFF}" dt="2024-09-04T04:46:07.098" v="10345" actId="403"/>
          <ac:spMkLst>
            <pc:docMk/>
            <pc:sldMk cId="1234428817" sldId="2147471653"/>
            <ac:spMk id="32" creationId="{2AF30CC0-AE14-74C7-54D4-63D11E8B0247}"/>
          </ac:spMkLst>
        </pc:spChg>
        <pc:spChg chg="mod">
          <ac:chgData name="Connor Xu" userId="a2fa5610-7f85-41f8-9630-afc02cec4fa9" providerId="ADAL" clId="{57EAAC4B-D155-4C96-A5D6-9BC102C82EFF}" dt="2024-09-04T04:41:39.443" v="10286" actId="165"/>
          <ac:spMkLst>
            <pc:docMk/>
            <pc:sldMk cId="1234428817" sldId="2147471653"/>
            <ac:spMk id="36" creationId="{662E61FE-708E-752E-1739-3ABF2A2B0AA7}"/>
          </ac:spMkLst>
        </pc:spChg>
        <pc:spChg chg="mod">
          <ac:chgData name="Connor Xu" userId="a2fa5610-7f85-41f8-9630-afc02cec4fa9" providerId="ADAL" clId="{57EAAC4B-D155-4C96-A5D6-9BC102C82EFF}" dt="2024-09-04T04:41:39.443" v="10286" actId="165"/>
          <ac:spMkLst>
            <pc:docMk/>
            <pc:sldMk cId="1234428817" sldId="2147471653"/>
            <ac:spMk id="37" creationId="{44A36DB2-08DB-7764-14D3-C36E3DC45EBA}"/>
          </ac:spMkLst>
        </pc:spChg>
        <pc:spChg chg="mod">
          <ac:chgData name="Connor Xu" userId="a2fa5610-7f85-41f8-9630-afc02cec4fa9" providerId="ADAL" clId="{57EAAC4B-D155-4C96-A5D6-9BC102C82EFF}" dt="2024-09-04T04:41:39.443" v="10286" actId="165"/>
          <ac:spMkLst>
            <pc:docMk/>
            <pc:sldMk cId="1234428817" sldId="2147471653"/>
            <ac:spMk id="38" creationId="{573DA496-8389-E72C-3475-D525346B6E81}"/>
          </ac:spMkLst>
        </pc:spChg>
        <pc:spChg chg="mod">
          <ac:chgData name="Connor Xu" userId="a2fa5610-7f85-41f8-9630-afc02cec4fa9" providerId="ADAL" clId="{57EAAC4B-D155-4C96-A5D6-9BC102C82EFF}" dt="2024-09-04T04:41:39.443" v="10286" actId="165"/>
          <ac:spMkLst>
            <pc:docMk/>
            <pc:sldMk cId="1234428817" sldId="2147471653"/>
            <ac:spMk id="39" creationId="{B925B418-111D-8EC5-E1E7-954E5860F737}"/>
          </ac:spMkLst>
        </pc:spChg>
        <pc:spChg chg="add mod topLvl">
          <ac:chgData name="Connor Xu" userId="a2fa5610-7f85-41f8-9630-afc02cec4fa9" providerId="ADAL" clId="{57EAAC4B-D155-4C96-A5D6-9BC102C82EFF}" dt="2024-09-04T04:43:15.590" v="10313" actId="14100"/>
          <ac:spMkLst>
            <pc:docMk/>
            <pc:sldMk cId="1234428817" sldId="2147471653"/>
            <ac:spMk id="40" creationId="{2B08D256-0676-8D84-8FDC-C5BD1C254819}"/>
          </ac:spMkLst>
        </pc:spChg>
        <pc:spChg chg="del">
          <ac:chgData name="Connor Xu" userId="a2fa5610-7f85-41f8-9630-afc02cec4fa9" providerId="ADAL" clId="{57EAAC4B-D155-4C96-A5D6-9BC102C82EFF}" dt="2024-09-02T23:51:44.075" v="4983" actId="478"/>
          <ac:spMkLst>
            <pc:docMk/>
            <pc:sldMk cId="1234428817" sldId="2147471653"/>
            <ac:spMk id="41" creationId="{A3A14D17-8598-6F53-3B22-F8965A4C832B}"/>
          </ac:spMkLst>
        </pc:spChg>
        <pc:spChg chg="add mod topLvl">
          <ac:chgData name="Connor Xu" userId="a2fa5610-7f85-41f8-9630-afc02cec4fa9" providerId="ADAL" clId="{57EAAC4B-D155-4C96-A5D6-9BC102C82EFF}" dt="2024-09-04T04:46:01.505" v="10343" actId="403"/>
          <ac:spMkLst>
            <pc:docMk/>
            <pc:sldMk cId="1234428817" sldId="2147471653"/>
            <ac:spMk id="42" creationId="{AFA7F35F-405A-195B-0830-FEA8111794AB}"/>
          </ac:spMkLst>
        </pc:spChg>
        <pc:spChg chg="mod">
          <ac:chgData name="Connor Xu" userId="a2fa5610-7f85-41f8-9630-afc02cec4fa9" providerId="ADAL" clId="{57EAAC4B-D155-4C96-A5D6-9BC102C82EFF}" dt="2024-09-04T04:41:39.443" v="10286" actId="165"/>
          <ac:spMkLst>
            <pc:docMk/>
            <pc:sldMk cId="1234428817" sldId="2147471653"/>
            <ac:spMk id="47" creationId="{C591563B-A84F-AB78-D605-34EFC4BE6213}"/>
          </ac:spMkLst>
        </pc:spChg>
        <pc:spChg chg="mod">
          <ac:chgData name="Connor Xu" userId="a2fa5610-7f85-41f8-9630-afc02cec4fa9" providerId="ADAL" clId="{57EAAC4B-D155-4C96-A5D6-9BC102C82EFF}" dt="2024-09-04T04:41:39.443" v="10286" actId="165"/>
          <ac:spMkLst>
            <pc:docMk/>
            <pc:sldMk cId="1234428817" sldId="2147471653"/>
            <ac:spMk id="48" creationId="{E72A5BFB-0E63-0B27-0205-85ECA0CD0CDD}"/>
          </ac:spMkLst>
        </pc:spChg>
        <pc:spChg chg="mod">
          <ac:chgData name="Connor Xu" userId="a2fa5610-7f85-41f8-9630-afc02cec4fa9" providerId="ADAL" clId="{57EAAC4B-D155-4C96-A5D6-9BC102C82EFF}" dt="2024-09-04T04:41:39.443" v="10286" actId="165"/>
          <ac:spMkLst>
            <pc:docMk/>
            <pc:sldMk cId="1234428817" sldId="2147471653"/>
            <ac:spMk id="49" creationId="{A1FE5B3D-4D7C-473E-AEA5-AF3701D82446}"/>
          </ac:spMkLst>
        </pc:spChg>
        <pc:spChg chg="mod">
          <ac:chgData name="Connor Xu" userId="a2fa5610-7f85-41f8-9630-afc02cec4fa9" providerId="ADAL" clId="{57EAAC4B-D155-4C96-A5D6-9BC102C82EFF}" dt="2024-09-04T04:41:39.443" v="10286" actId="165"/>
          <ac:spMkLst>
            <pc:docMk/>
            <pc:sldMk cId="1234428817" sldId="2147471653"/>
            <ac:spMk id="50" creationId="{EDC88B1B-9694-E59D-69B7-029411F377DD}"/>
          </ac:spMkLst>
        </pc:spChg>
        <pc:spChg chg="add mod topLvl">
          <ac:chgData name="Connor Xu" userId="a2fa5610-7f85-41f8-9630-afc02cec4fa9" providerId="ADAL" clId="{57EAAC4B-D155-4C96-A5D6-9BC102C82EFF}" dt="2024-09-04T04:43:17.470" v="10314" actId="14100"/>
          <ac:spMkLst>
            <pc:docMk/>
            <pc:sldMk cId="1234428817" sldId="2147471653"/>
            <ac:spMk id="51" creationId="{6B497862-CDE8-D6F8-E21A-186CD80CFA12}"/>
          </ac:spMkLst>
        </pc:spChg>
        <pc:spChg chg="mod topLvl">
          <ac:chgData name="Connor Xu" userId="a2fa5610-7f85-41f8-9630-afc02cec4fa9" providerId="ADAL" clId="{57EAAC4B-D155-4C96-A5D6-9BC102C82EFF}" dt="2024-09-04T04:44:43.642" v="10332" actId="14100"/>
          <ac:spMkLst>
            <pc:docMk/>
            <pc:sldMk cId="1234428817" sldId="2147471653"/>
            <ac:spMk id="55" creationId="{0C4BD55A-287C-2705-2B79-52DED6828870}"/>
          </ac:spMkLst>
        </pc:spChg>
        <pc:spChg chg="del topLvl">
          <ac:chgData name="Connor Xu" userId="a2fa5610-7f85-41f8-9630-afc02cec4fa9" providerId="ADAL" clId="{57EAAC4B-D155-4C96-A5D6-9BC102C82EFF}" dt="2024-09-02T23:55:35.639" v="5675" actId="478"/>
          <ac:spMkLst>
            <pc:docMk/>
            <pc:sldMk cId="1234428817" sldId="2147471653"/>
            <ac:spMk id="56" creationId="{D95CE025-9D5A-B5AD-7CA4-D691C347BF8F}"/>
          </ac:spMkLst>
        </pc:spChg>
        <pc:spChg chg="del topLvl">
          <ac:chgData name="Connor Xu" userId="a2fa5610-7f85-41f8-9630-afc02cec4fa9" providerId="ADAL" clId="{57EAAC4B-D155-4C96-A5D6-9BC102C82EFF}" dt="2024-09-02T23:51:37.376" v="4981" actId="478"/>
          <ac:spMkLst>
            <pc:docMk/>
            <pc:sldMk cId="1234428817" sldId="2147471653"/>
            <ac:spMk id="57" creationId="{C7792A0A-503D-9A59-A5A2-83CD9C8A987B}"/>
          </ac:spMkLst>
        </pc:spChg>
        <pc:spChg chg="del topLvl">
          <ac:chgData name="Connor Xu" userId="a2fa5610-7f85-41f8-9630-afc02cec4fa9" providerId="ADAL" clId="{57EAAC4B-D155-4C96-A5D6-9BC102C82EFF}" dt="2024-09-02T23:51:36.008" v="4980" actId="478"/>
          <ac:spMkLst>
            <pc:docMk/>
            <pc:sldMk cId="1234428817" sldId="2147471653"/>
            <ac:spMk id="58" creationId="{203C4F35-0D45-E853-DBF9-558BD1F91F2B}"/>
          </ac:spMkLst>
        </pc:spChg>
        <pc:spChg chg="mod">
          <ac:chgData name="Connor Xu" userId="a2fa5610-7f85-41f8-9630-afc02cec4fa9" providerId="ADAL" clId="{57EAAC4B-D155-4C96-A5D6-9BC102C82EFF}" dt="2024-09-04T04:41:39.443" v="10286" actId="165"/>
          <ac:spMkLst>
            <pc:docMk/>
            <pc:sldMk cId="1234428817" sldId="2147471653"/>
            <ac:spMk id="61" creationId="{7580CCDB-E9FD-6870-3994-5B1C1A564FAA}"/>
          </ac:spMkLst>
        </pc:spChg>
        <pc:spChg chg="mod">
          <ac:chgData name="Connor Xu" userId="a2fa5610-7f85-41f8-9630-afc02cec4fa9" providerId="ADAL" clId="{57EAAC4B-D155-4C96-A5D6-9BC102C82EFF}" dt="2024-09-04T04:41:39.443" v="10286" actId="165"/>
          <ac:spMkLst>
            <pc:docMk/>
            <pc:sldMk cId="1234428817" sldId="2147471653"/>
            <ac:spMk id="62" creationId="{41F0850A-8AD6-1E57-08E1-945177257939}"/>
          </ac:spMkLst>
        </pc:spChg>
        <pc:spChg chg="mod">
          <ac:chgData name="Connor Xu" userId="a2fa5610-7f85-41f8-9630-afc02cec4fa9" providerId="ADAL" clId="{57EAAC4B-D155-4C96-A5D6-9BC102C82EFF}" dt="2024-09-04T04:41:39.443" v="10286" actId="165"/>
          <ac:spMkLst>
            <pc:docMk/>
            <pc:sldMk cId="1234428817" sldId="2147471653"/>
            <ac:spMk id="63" creationId="{3311DAC5-560E-AFA7-7966-9596657DCAE8}"/>
          </ac:spMkLst>
        </pc:spChg>
        <pc:spChg chg="mod">
          <ac:chgData name="Connor Xu" userId="a2fa5610-7f85-41f8-9630-afc02cec4fa9" providerId="ADAL" clId="{57EAAC4B-D155-4C96-A5D6-9BC102C82EFF}" dt="2024-09-04T04:41:39.443" v="10286" actId="165"/>
          <ac:spMkLst>
            <pc:docMk/>
            <pc:sldMk cId="1234428817" sldId="2147471653"/>
            <ac:spMk id="65" creationId="{E9FF1E7A-2E29-344E-E330-DFC2E241A02A}"/>
          </ac:spMkLst>
        </pc:spChg>
        <pc:spChg chg="mod">
          <ac:chgData name="Connor Xu" userId="a2fa5610-7f85-41f8-9630-afc02cec4fa9" providerId="ADAL" clId="{57EAAC4B-D155-4C96-A5D6-9BC102C82EFF}" dt="2024-09-02T23:54:50.827" v="5673" actId="1076"/>
          <ac:spMkLst>
            <pc:docMk/>
            <pc:sldMk cId="1234428817" sldId="2147471653"/>
            <ac:spMk id="66" creationId="{C8D9AD35-842C-4088-95FF-D8AAE16AA6B5}"/>
          </ac:spMkLst>
        </pc:spChg>
        <pc:spChg chg="mod">
          <ac:chgData name="Connor Xu" userId="a2fa5610-7f85-41f8-9630-afc02cec4fa9" providerId="ADAL" clId="{57EAAC4B-D155-4C96-A5D6-9BC102C82EFF}" dt="2024-09-02T23:53:17.679" v="5380" actId="113"/>
          <ac:spMkLst>
            <pc:docMk/>
            <pc:sldMk cId="1234428817" sldId="2147471653"/>
            <ac:spMk id="71" creationId="{233BE668-E501-7ED2-32B6-5AEC3A067C7F}"/>
          </ac:spMkLst>
        </pc:spChg>
        <pc:spChg chg="mod">
          <ac:chgData name="Connor Xu" userId="a2fa5610-7f85-41f8-9630-afc02cec4fa9" providerId="ADAL" clId="{57EAAC4B-D155-4C96-A5D6-9BC102C82EFF}" dt="2024-09-02T23:53:11.659" v="5351" actId="113"/>
          <ac:spMkLst>
            <pc:docMk/>
            <pc:sldMk cId="1234428817" sldId="2147471653"/>
            <ac:spMk id="75" creationId="{774E2C03-0D7A-E023-EEE1-390F0DB63E41}"/>
          </ac:spMkLst>
        </pc:spChg>
        <pc:grpChg chg="add mod">
          <ac:chgData name="Connor Xu" userId="a2fa5610-7f85-41f8-9630-afc02cec4fa9" providerId="ADAL" clId="{57EAAC4B-D155-4C96-A5D6-9BC102C82EFF}" dt="2024-09-02T23:55:42.201" v="5679" actId="571"/>
          <ac:grpSpMkLst>
            <pc:docMk/>
            <pc:sldMk cId="1234428817" sldId="2147471653"/>
            <ac:grpSpMk id="4" creationId="{F4646D60-09DC-CB71-FC1C-02FC5A3EDFEC}"/>
          </ac:grpSpMkLst>
        </pc:grpChg>
        <pc:grpChg chg="mod">
          <ac:chgData name="Connor Xu" userId="a2fa5610-7f85-41f8-9630-afc02cec4fa9" providerId="ADAL" clId="{57EAAC4B-D155-4C96-A5D6-9BC102C82EFF}" dt="2024-09-02T23:55:42.201" v="5679" actId="571"/>
          <ac:grpSpMkLst>
            <pc:docMk/>
            <pc:sldMk cId="1234428817" sldId="2147471653"/>
            <ac:grpSpMk id="5" creationId="{4DBA9D09-85B3-8BD3-A359-4BBD76A7D1B3}"/>
          </ac:grpSpMkLst>
        </pc:grpChg>
        <pc:grpChg chg="del">
          <ac:chgData name="Connor Xu" userId="a2fa5610-7f85-41f8-9630-afc02cec4fa9" providerId="ADAL" clId="{57EAAC4B-D155-4C96-A5D6-9BC102C82EFF}" dt="2024-09-02T23:51:37.376" v="4981" actId="478"/>
          <ac:grpSpMkLst>
            <pc:docMk/>
            <pc:sldMk cId="1234428817" sldId="2147471653"/>
            <ac:grpSpMk id="8" creationId="{6B0D435D-B251-E735-2494-EC31CBD02D36}"/>
          </ac:grpSpMkLst>
        </pc:grpChg>
        <pc:grpChg chg="del">
          <ac:chgData name="Connor Xu" userId="a2fa5610-7f85-41f8-9630-afc02cec4fa9" providerId="ADAL" clId="{57EAAC4B-D155-4C96-A5D6-9BC102C82EFF}" dt="2024-09-02T23:51:36.008" v="4980" actId="478"/>
          <ac:grpSpMkLst>
            <pc:docMk/>
            <pc:sldMk cId="1234428817" sldId="2147471653"/>
            <ac:grpSpMk id="9" creationId="{5172BC83-4690-D4E2-F598-12DE2C8EA758}"/>
          </ac:grpSpMkLst>
        </pc:grpChg>
        <pc:grpChg chg="del">
          <ac:chgData name="Connor Xu" userId="a2fa5610-7f85-41f8-9630-afc02cec4fa9" providerId="ADAL" clId="{57EAAC4B-D155-4C96-A5D6-9BC102C82EFF}" dt="2024-09-02T23:55:34.888" v="5674" actId="478"/>
          <ac:grpSpMkLst>
            <pc:docMk/>
            <pc:sldMk cId="1234428817" sldId="2147471653"/>
            <ac:grpSpMk id="10" creationId="{C2B8AE8C-CDC2-E188-290E-DE132C02BF26}"/>
          </ac:grpSpMkLst>
        </pc:grpChg>
        <pc:grpChg chg="del mod">
          <ac:chgData name="Connor Xu" userId="a2fa5610-7f85-41f8-9630-afc02cec4fa9" providerId="ADAL" clId="{57EAAC4B-D155-4C96-A5D6-9BC102C82EFF}" dt="2024-09-02T23:55:34.888" v="5674" actId="478"/>
          <ac:grpSpMkLst>
            <pc:docMk/>
            <pc:sldMk cId="1234428817" sldId="2147471653"/>
            <ac:grpSpMk id="11" creationId="{B3A4D5EE-B59B-883B-92A2-6D94F16C3418}"/>
          </ac:grpSpMkLst>
        </pc:grpChg>
        <pc:grpChg chg="del mod">
          <ac:chgData name="Connor Xu" userId="a2fa5610-7f85-41f8-9630-afc02cec4fa9" providerId="ADAL" clId="{57EAAC4B-D155-4C96-A5D6-9BC102C82EFF}" dt="2024-09-02T23:52:48.184" v="5283" actId="165"/>
          <ac:grpSpMkLst>
            <pc:docMk/>
            <pc:sldMk cId="1234428817" sldId="2147471653"/>
            <ac:grpSpMk id="13" creationId="{A39115E8-328C-A51A-D57F-66776B922273}"/>
          </ac:grpSpMkLst>
        </pc:grpChg>
        <pc:grpChg chg="mod">
          <ac:chgData name="Connor Xu" userId="a2fa5610-7f85-41f8-9630-afc02cec4fa9" providerId="ADAL" clId="{57EAAC4B-D155-4C96-A5D6-9BC102C82EFF}" dt="2024-09-02T23:55:42.201" v="5679" actId="571"/>
          <ac:grpSpMkLst>
            <pc:docMk/>
            <pc:sldMk cId="1234428817" sldId="2147471653"/>
            <ac:grpSpMk id="14" creationId="{02451661-B9EC-E59D-A7AB-A01195C265A2}"/>
          </ac:grpSpMkLst>
        </pc:grpChg>
        <pc:grpChg chg="add mod">
          <ac:chgData name="Connor Xu" userId="a2fa5610-7f85-41f8-9630-afc02cec4fa9" providerId="ADAL" clId="{57EAAC4B-D155-4C96-A5D6-9BC102C82EFF}" dt="2024-09-02T23:55:41.999" v="5678" actId="571"/>
          <ac:grpSpMkLst>
            <pc:docMk/>
            <pc:sldMk cId="1234428817" sldId="2147471653"/>
            <ac:grpSpMk id="22" creationId="{B881B431-DCFB-5E7A-D260-899A438433EA}"/>
          </ac:grpSpMkLst>
        </pc:grpChg>
        <pc:grpChg chg="mod">
          <ac:chgData name="Connor Xu" userId="a2fa5610-7f85-41f8-9630-afc02cec4fa9" providerId="ADAL" clId="{57EAAC4B-D155-4C96-A5D6-9BC102C82EFF}" dt="2024-09-02T23:55:41.999" v="5678" actId="571"/>
          <ac:grpSpMkLst>
            <pc:docMk/>
            <pc:sldMk cId="1234428817" sldId="2147471653"/>
            <ac:grpSpMk id="23" creationId="{1CDCB25A-68C0-A2C6-ACE6-C31942F0486C}"/>
          </ac:grpSpMkLst>
        </pc:grpChg>
        <pc:grpChg chg="mod">
          <ac:chgData name="Connor Xu" userId="a2fa5610-7f85-41f8-9630-afc02cec4fa9" providerId="ADAL" clId="{57EAAC4B-D155-4C96-A5D6-9BC102C82EFF}" dt="2024-09-02T23:55:41.999" v="5678" actId="571"/>
          <ac:grpSpMkLst>
            <pc:docMk/>
            <pc:sldMk cId="1234428817" sldId="2147471653"/>
            <ac:grpSpMk id="24" creationId="{2804B694-5E20-D78A-8079-3BC0C40151BD}"/>
          </ac:grpSpMkLst>
        </pc:grpChg>
        <pc:grpChg chg="add del mod">
          <ac:chgData name="Connor Xu" userId="a2fa5610-7f85-41f8-9630-afc02cec4fa9" providerId="ADAL" clId="{57EAAC4B-D155-4C96-A5D6-9BC102C82EFF}" dt="2024-09-02T23:58:14.250" v="5720" actId="165"/>
          <ac:grpSpMkLst>
            <pc:docMk/>
            <pc:sldMk cId="1234428817" sldId="2147471653"/>
            <ac:grpSpMk id="31" creationId="{38155EB7-612C-E7E6-A130-A32FC0F5B8BB}"/>
          </ac:grpSpMkLst>
        </pc:grpChg>
        <pc:grpChg chg="add mod topLvl">
          <ac:chgData name="Connor Xu" userId="a2fa5610-7f85-41f8-9630-afc02cec4fa9" providerId="ADAL" clId="{57EAAC4B-D155-4C96-A5D6-9BC102C82EFF}" dt="2024-09-04T04:41:49.442" v="10292" actId="14100"/>
          <ac:grpSpMkLst>
            <pc:docMk/>
            <pc:sldMk cId="1234428817" sldId="2147471653"/>
            <ac:grpSpMk id="33" creationId="{A564EB01-7545-DE33-172F-1AD0802E2BBD}"/>
          </ac:grpSpMkLst>
        </pc:grpChg>
        <pc:grpChg chg="mod">
          <ac:chgData name="Connor Xu" userId="a2fa5610-7f85-41f8-9630-afc02cec4fa9" providerId="ADAL" clId="{57EAAC4B-D155-4C96-A5D6-9BC102C82EFF}" dt="2024-09-04T04:41:39.443" v="10286" actId="165"/>
          <ac:grpSpMkLst>
            <pc:docMk/>
            <pc:sldMk cId="1234428817" sldId="2147471653"/>
            <ac:grpSpMk id="34" creationId="{A99B7067-1D95-13A0-A8A0-1366B314E57C}"/>
          </ac:grpSpMkLst>
        </pc:grpChg>
        <pc:grpChg chg="mod">
          <ac:chgData name="Connor Xu" userId="a2fa5610-7f85-41f8-9630-afc02cec4fa9" providerId="ADAL" clId="{57EAAC4B-D155-4C96-A5D6-9BC102C82EFF}" dt="2024-09-04T04:41:39.443" v="10286" actId="165"/>
          <ac:grpSpMkLst>
            <pc:docMk/>
            <pc:sldMk cId="1234428817" sldId="2147471653"/>
            <ac:grpSpMk id="35" creationId="{8BD0267D-81E0-A740-8E59-CC07E731228D}"/>
          </ac:grpSpMkLst>
        </pc:grpChg>
        <pc:grpChg chg="mod topLvl">
          <ac:chgData name="Connor Xu" userId="a2fa5610-7f85-41f8-9630-afc02cec4fa9" providerId="ADAL" clId="{57EAAC4B-D155-4C96-A5D6-9BC102C82EFF}" dt="2024-09-04T04:44:43.642" v="10332" actId="14100"/>
          <ac:grpSpMkLst>
            <pc:docMk/>
            <pc:sldMk cId="1234428817" sldId="2147471653"/>
            <ac:grpSpMk id="43" creationId="{EBF86891-D4B2-36C3-BDEC-AA9FE05AB2B0}"/>
          </ac:grpSpMkLst>
        </pc:grpChg>
        <pc:grpChg chg="add mod topLvl">
          <ac:chgData name="Connor Xu" userId="a2fa5610-7f85-41f8-9630-afc02cec4fa9" providerId="ADAL" clId="{57EAAC4B-D155-4C96-A5D6-9BC102C82EFF}" dt="2024-09-04T04:41:46.806" v="10290" actId="14100"/>
          <ac:grpSpMkLst>
            <pc:docMk/>
            <pc:sldMk cId="1234428817" sldId="2147471653"/>
            <ac:grpSpMk id="44" creationId="{CE9463A0-5FDD-605C-D71F-7AE72A7CD056}"/>
          </ac:grpSpMkLst>
        </pc:grpChg>
        <pc:grpChg chg="mod">
          <ac:chgData name="Connor Xu" userId="a2fa5610-7f85-41f8-9630-afc02cec4fa9" providerId="ADAL" clId="{57EAAC4B-D155-4C96-A5D6-9BC102C82EFF}" dt="2024-09-04T04:41:39.443" v="10286" actId="165"/>
          <ac:grpSpMkLst>
            <pc:docMk/>
            <pc:sldMk cId="1234428817" sldId="2147471653"/>
            <ac:grpSpMk id="45" creationId="{E1238B80-7A09-7550-C049-F409D7A12C9F}"/>
          </ac:grpSpMkLst>
        </pc:grpChg>
        <pc:grpChg chg="mod">
          <ac:chgData name="Connor Xu" userId="a2fa5610-7f85-41f8-9630-afc02cec4fa9" providerId="ADAL" clId="{57EAAC4B-D155-4C96-A5D6-9BC102C82EFF}" dt="2024-09-04T04:41:39.443" v="10286" actId="165"/>
          <ac:grpSpMkLst>
            <pc:docMk/>
            <pc:sldMk cId="1234428817" sldId="2147471653"/>
            <ac:grpSpMk id="46" creationId="{63480FE2-F8AA-AC52-2B67-EDFEB8EB9D15}"/>
          </ac:grpSpMkLst>
        </pc:grpChg>
        <pc:grpChg chg="add del mod">
          <ac:chgData name="Connor Xu" userId="a2fa5610-7f85-41f8-9630-afc02cec4fa9" providerId="ADAL" clId="{57EAAC4B-D155-4C96-A5D6-9BC102C82EFF}" dt="2024-09-04T04:41:39.443" v="10286" actId="165"/>
          <ac:grpSpMkLst>
            <pc:docMk/>
            <pc:sldMk cId="1234428817" sldId="2147471653"/>
            <ac:grpSpMk id="52" creationId="{A78D930B-854B-46D2-AF7A-1CE013046A39}"/>
          </ac:grpSpMkLst>
        </pc:grpChg>
        <pc:grpChg chg="add del mod">
          <ac:chgData name="Connor Xu" userId="a2fa5610-7f85-41f8-9630-afc02cec4fa9" providerId="ADAL" clId="{57EAAC4B-D155-4C96-A5D6-9BC102C82EFF}" dt="2024-09-04T04:41:39.443" v="10286" actId="165"/>
          <ac:grpSpMkLst>
            <pc:docMk/>
            <pc:sldMk cId="1234428817" sldId="2147471653"/>
            <ac:grpSpMk id="53" creationId="{FA849E53-3310-DDE3-68A0-B35B19F1CF1A}"/>
          </ac:grpSpMkLst>
        </pc:grpChg>
        <pc:grpChg chg="add del mod">
          <ac:chgData name="Connor Xu" userId="a2fa5610-7f85-41f8-9630-afc02cec4fa9" providerId="ADAL" clId="{57EAAC4B-D155-4C96-A5D6-9BC102C82EFF}" dt="2024-09-04T04:41:39.443" v="10286" actId="165"/>
          <ac:grpSpMkLst>
            <pc:docMk/>
            <pc:sldMk cId="1234428817" sldId="2147471653"/>
            <ac:grpSpMk id="54" creationId="{3EE9C3FD-6238-346D-F5D4-1A08682F1C57}"/>
          </ac:grpSpMkLst>
        </pc:grpChg>
        <pc:grpChg chg="mod">
          <ac:chgData name="Connor Xu" userId="a2fa5610-7f85-41f8-9630-afc02cec4fa9" providerId="ADAL" clId="{57EAAC4B-D155-4C96-A5D6-9BC102C82EFF}" dt="2024-09-04T04:41:39.443" v="10286" actId="165"/>
          <ac:grpSpMkLst>
            <pc:docMk/>
            <pc:sldMk cId="1234428817" sldId="2147471653"/>
            <ac:grpSpMk id="59" creationId="{51D3BB1E-0A55-9568-F292-87ECAE82A18A}"/>
          </ac:grpSpMkLst>
        </pc:grpChg>
        <pc:grpChg chg="mod">
          <ac:chgData name="Connor Xu" userId="a2fa5610-7f85-41f8-9630-afc02cec4fa9" providerId="ADAL" clId="{57EAAC4B-D155-4C96-A5D6-9BC102C82EFF}" dt="2024-09-04T04:41:39.443" v="10286" actId="165"/>
          <ac:grpSpMkLst>
            <pc:docMk/>
            <pc:sldMk cId="1234428817" sldId="2147471653"/>
            <ac:grpSpMk id="60" creationId="{A1E8E87A-B0BA-CC79-3011-1AED704283AF}"/>
          </ac:grpSpMkLst>
        </pc:grpChg>
      </pc:sldChg>
      <pc:sldChg chg="addSp delSp modSp mod">
        <pc:chgData name="Connor Xu" userId="a2fa5610-7f85-41f8-9630-afc02cec4fa9" providerId="ADAL" clId="{57EAAC4B-D155-4C96-A5D6-9BC102C82EFF}" dt="2024-09-04T04:38:31.902" v="10241" actId="14100"/>
        <pc:sldMkLst>
          <pc:docMk/>
          <pc:sldMk cId="3274022134" sldId="2147471656"/>
        </pc:sldMkLst>
        <pc:spChg chg="mod">
          <ac:chgData name="Connor Xu" userId="a2fa5610-7f85-41f8-9630-afc02cec4fa9" providerId="ADAL" clId="{57EAAC4B-D155-4C96-A5D6-9BC102C82EFF}" dt="2024-09-02T22:49:04.408" v="3441" actId="20577"/>
          <ac:spMkLst>
            <pc:docMk/>
            <pc:sldMk cId="3274022134" sldId="2147471656"/>
            <ac:spMk id="3" creationId="{70A675F7-CAF4-83EC-53BD-56B259073B05}"/>
          </ac:spMkLst>
        </pc:spChg>
        <pc:spChg chg="mod">
          <ac:chgData name="Connor Xu" userId="a2fa5610-7f85-41f8-9630-afc02cec4fa9" providerId="ADAL" clId="{57EAAC4B-D155-4C96-A5D6-9BC102C82EFF}" dt="2024-09-04T04:37:34.619" v="10209" actId="1035"/>
          <ac:spMkLst>
            <pc:docMk/>
            <pc:sldMk cId="3274022134" sldId="2147471656"/>
            <ac:spMk id="6" creationId="{E1296918-AD6D-C9E2-9E46-991182C85F7C}"/>
          </ac:spMkLst>
        </pc:spChg>
        <pc:spChg chg="mod topLvl">
          <ac:chgData name="Connor Xu" userId="a2fa5610-7f85-41f8-9630-afc02cec4fa9" providerId="ADAL" clId="{57EAAC4B-D155-4C96-A5D6-9BC102C82EFF}" dt="2024-09-02T22:42:19.153" v="3303" actId="165"/>
          <ac:spMkLst>
            <pc:docMk/>
            <pc:sldMk cId="3274022134" sldId="2147471656"/>
            <ac:spMk id="11" creationId="{3A4F6423-A6D9-DE9E-124A-D0D2D557C843}"/>
          </ac:spMkLst>
        </pc:spChg>
        <pc:spChg chg="mod topLvl">
          <ac:chgData name="Connor Xu" userId="a2fa5610-7f85-41f8-9630-afc02cec4fa9" providerId="ADAL" clId="{57EAAC4B-D155-4C96-A5D6-9BC102C82EFF}" dt="2024-09-02T22:42:19.153" v="3303" actId="165"/>
          <ac:spMkLst>
            <pc:docMk/>
            <pc:sldMk cId="3274022134" sldId="2147471656"/>
            <ac:spMk id="12" creationId="{FB5D171E-152C-37C5-B9B6-F9095392E681}"/>
          </ac:spMkLst>
        </pc:spChg>
        <pc:spChg chg="mod topLvl">
          <ac:chgData name="Connor Xu" userId="a2fa5610-7f85-41f8-9630-afc02cec4fa9" providerId="ADAL" clId="{57EAAC4B-D155-4C96-A5D6-9BC102C82EFF}" dt="2024-09-02T22:42:19.153" v="3303" actId="165"/>
          <ac:spMkLst>
            <pc:docMk/>
            <pc:sldMk cId="3274022134" sldId="2147471656"/>
            <ac:spMk id="13" creationId="{20EC2ED1-1B6D-35EF-B9CE-C2846F6BAC49}"/>
          </ac:spMkLst>
        </pc:spChg>
        <pc:spChg chg="mod">
          <ac:chgData name="Connor Xu" userId="a2fa5610-7f85-41f8-9630-afc02cec4fa9" providerId="ADAL" clId="{57EAAC4B-D155-4C96-A5D6-9BC102C82EFF}" dt="2024-09-02T23:28:13.692" v="4448" actId="255"/>
          <ac:spMkLst>
            <pc:docMk/>
            <pc:sldMk cId="3274022134" sldId="2147471656"/>
            <ac:spMk id="18" creationId="{410EF50E-2E3A-8BFF-510C-BFA7A9F187D6}"/>
          </ac:spMkLst>
        </pc:spChg>
        <pc:spChg chg="mod">
          <ac:chgData name="Connor Xu" userId="a2fa5610-7f85-41f8-9630-afc02cec4fa9" providerId="ADAL" clId="{57EAAC4B-D155-4C96-A5D6-9BC102C82EFF}" dt="2024-09-02T23:28:13.692" v="4448" actId="255"/>
          <ac:spMkLst>
            <pc:docMk/>
            <pc:sldMk cId="3274022134" sldId="2147471656"/>
            <ac:spMk id="19" creationId="{88333EDC-5553-013F-2E95-63592AEF1CF4}"/>
          </ac:spMkLst>
        </pc:spChg>
        <pc:spChg chg="mod">
          <ac:chgData name="Connor Xu" userId="a2fa5610-7f85-41f8-9630-afc02cec4fa9" providerId="ADAL" clId="{57EAAC4B-D155-4C96-A5D6-9BC102C82EFF}" dt="2024-09-02T23:28:13.692" v="4448" actId="255"/>
          <ac:spMkLst>
            <pc:docMk/>
            <pc:sldMk cId="3274022134" sldId="2147471656"/>
            <ac:spMk id="20" creationId="{F82B8B99-F204-FDA1-A079-EAB78A8363D6}"/>
          </ac:spMkLst>
        </pc:spChg>
        <pc:spChg chg="mod">
          <ac:chgData name="Connor Xu" userId="a2fa5610-7f85-41f8-9630-afc02cec4fa9" providerId="ADAL" clId="{57EAAC4B-D155-4C96-A5D6-9BC102C82EFF}" dt="2024-09-02T23:28:13.692" v="4448" actId="255"/>
          <ac:spMkLst>
            <pc:docMk/>
            <pc:sldMk cId="3274022134" sldId="2147471656"/>
            <ac:spMk id="21" creationId="{B04FFF6B-4AEE-1D93-78AA-B67304840040}"/>
          </ac:spMkLst>
        </pc:spChg>
        <pc:spChg chg="mod">
          <ac:chgData name="Connor Xu" userId="a2fa5610-7f85-41f8-9630-afc02cec4fa9" providerId="ADAL" clId="{57EAAC4B-D155-4C96-A5D6-9BC102C82EFF}" dt="2024-09-02T23:28:13.692" v="4448" actId="255"/>
          <ac:spMkLst>
            <pc:docMk/>
            <pc:sldMk cId="3274022134" sldId="2147471656"/>
            <ac:spMk id="26" creationId="{1AEE9A7E-9EB5-39D2-323C-4712EC9B4D71}"/>
          </ac:spMkLst>
        </pc:spChg>
        <pc:spChg chg="del">
          <ac:chgData name="Connor Xu" userId="a2fa5610-7f85-41f8-9630-afc02cec4fa9" providerId="ADAL" clId="{57EAAC4B-D155-4C96-A5D6-9BC102C82EFF}" dt="2024-09-02T08:20:15.118" v="3293" actId="478"/>
          <ac:spMkLst>
            <pc:docMk/>
            <pc:sldMk cId="3274022134" sldId="2147471656"/>
            <ac:spMk id="27" creationId="{F6F1DC71-5700-BE1F-240E-8AD3A4B17FDB}"/>
          </ac:spMkLst>
        </pc:spChg>
        <pc:spChg chg="del">
          <ac:chgData name="Connor Xu" userId="a2fa5610-7f85-41f8-9630-afc02cec4fa9" providerId="ADAL" clId="{57EAAC4B-D155-4C96-A5D6-9BC102C82EFF}" dt="2024-09-02T08:20:15.118" v="3293" actId="478"/>
          <ac:spMkLst>
            <pc:docMk/>
            <pc:sldMk cId="3274022134" sldId="2147471656"/>
            <ac:spMk id="28" creationId="{DA1058AE-7E31-293C-98DF-7476322998F0}"/>
          </ac:spMkLst>
        </pc:spChg>
        <pc:spChg chg="mod">
          <ac:chgData name="Connor Xu" userId="a2fa5610-7f85-41f8-9630-afc02cec4fa9" providerId="ADAL" clId="{57EAAC4B-D155-4C96-A5D6-9BC102C82EFF}" dt="2024-09-02T23:28:13.692" v="4448" actId="255"/>
          <ac:spMkLst>
            <pc:docMk/>
            <pc:sldMk cId="3274022134" sldId="2147471656"/>
            <ac:spMk id="30" creationId="{AD6FA50E-49CB-A613-EF3F-2FB3672045F0}"/>
          </ac:spMkLst>
        </pc:spChg>
        <pc:spChg chg="mod">
          <ac:chgData name="Connor Xu" userId="a2fa5610-7f85-41f8-9630-afc02cec4fa9" providerId="ADAL" clId="{57EAAC4B-D155-4C96-A5D6-9BC102C82EFF}" dt="2024-09-02T23:28:13.692" v="4448" actId="255"/>
          <ac:spMkLst>
            <pc:docMk/>
            <pc:sldMk cId="3274022134" sldId="2147471656"/>
            <ac:spMk id="31" creationId="{F924F360-5DD4-8D4A-B3A1-BA597B0633F1}"/>
          </ac:spMkLst>
        </pc:spChg>
        <pc:spChg chg="mod">
          <ac:chgData name="Connor Xu" userId="a2fa5610-7f85-41f8-9630-afc02cec4fa9" providerId="ADAL" clId="{57EAAC4B-D155-4C96-A5D6-9BC102C82EFF}" dt="2024-09-02T23:28:13.692" v="4448" actId="255"/>
          <ac:spMkLst>
            <pc:docMk/>
            <pc:sldMk cId="3274022134" sldId="2147471656"/>
            <ac:spMk id="32" creationId="{E00511EB-8B55-F389-84FA-D87EAF9765C7}"/>
          </ac:spMkLst>
        </pc:spChg>
        <pc:spChg chg="add mod">
          <ac:chgData name="Connor Xu" userId="a2fa5610-7f85-41f8-9630-afc02cec4fa9" providerId="ADAL" clId="{57EAAC4B-D155-4C96-A5D6-9BC102C82EFF}" dt="2024-09-04T04:38:26.371" v="10240" actId="404"/>
          <ac:spMkLst>
            <pc:docMk/>
            <pc:sldMk cId="3274022134" sldId="2147471656"/>
            <ac:spMk id="34" creationId="{E7A62575-D141-CCE1-DD8B-234B0180E6AB}"/>
          </ac:spMkLst>
        </pc:spChg>
        <pc:spChg chg="add mod">
          <ac:chgData name="Connor Xu" userId="a2fa5610-7f85-41f8-9630-afc02cec4fa9" providerId="ADAL" clId="{57EAAC4B-D155-4C96-A5D6-9BC102C82EFF}" dt="2024-09-04T04:38:26.371" v="10240" actId="404"/>
          <ac:spMkLst>
            <pc:docMk/>
            <pc:sldMk cId="3274022134" sldId="2147471656"/>
            <ac:spMk id="35" creationId="{B59FEA33-8FAA-0F8E-C4EB-CE0A4CDA3E3D}"/>
          </ac:spMkLst>
        </pc:spChg>
        <pc:spChg chg="add mod">
          <ac:chgData name="Connor Xu" userId="a2fa5610-7f85-41f8-9630-afc02cec4fa9" providerId="ADAL" clId="{57EAAC4B-D155-4C96-A5D6-9BC102C82EFF}" dt="2024-09-04T04:38:26.371" v="10240" actId="404"/>
          <ac:spMkLst>
            <pc:docMk/>
            <pc:sldMk cId="3274022134" sldId="2147471656"/>
            <ac:spMk id="36" creationId="{7DE378FA-7E4C-12D4-713A-2EB2BDB2B977}"/>
          </ac:spMkLst>
        </pc:spChg>
        <pc:spChg chg="add mod">
          <ac:chgData name="Connor Xu" userId="a2fa5610-7f85-41f8-9630-afc02cec4fa9" providerId="ADAL" clId="{57EAAC4B-D155-4C96-A5D6-9BC102C82EFF}" dt="2024-09-04T04:38:31.902" v="10241" actId="14100"/>
          <ac:spMkLst>
            <pc:docMk/>
            <pc:sldMk cId="3274022134" sldId="2147471656"/>
            <ac:spMk id="39" creationId="{E378804B-F9D7-3C3C-7D7A-02C9821E5848}"/>
          </ac:spMkLst>
        </pc:spChg>
        <pc:spChg chg="del">
          <ac:chgData name="Connor Xu" userId="a2fa5610-7f85-41f8-9630-afc02cec4fa9" providerId="ADAL" clId="{57EAAC4B-D155-4C96-A5D6-9BC102C82EFF}" dt="2024-09-02T08:20:15.118" v="3293" actId="478"/>
          <ac:spMkLst>
            <pc:docMk/>
            <pc:sldMk cId="3274022134" sldId="2147471656"/>
            <ac:spMk id="61" creationId="{1FF6B810-6AD5-BB03-6DD4-EDA274DB54C0}"/>
          </ac:spMkLst>
        </pc:spChg>
        <pc:grpChg chg="del">
          <ac:chgData name="Connor Xu" userId="a2fa5610-7f85-41f8-9630-afc02cec4fa9" providerId="ADAL" clId="{57EAAC4B-D155-4C96-A5D6-9BC102C82EFF}" dt="2024-09-02T08:20:12.924" v="3292" actId="478"/>
          <ac:grpSpMkLst>
            <pc:docMk/>
            <pc:sldMk cId="3274022134" sldId="2147471656"/>
            <ac:grpSpMk id="2" creationId="{1AAF0710-D2E7-C6C8-1445-17E572AA04F6}"/>
          </ac:grpSpMkLst>
        </pc:grpChg>
        <pc:grpChg chg="add del mod">
          <ac:chgData name="Connor Xu" userId="a2fa5610-7f85-41f8-9630-afc02cec4fa9" providerId="ADAL" clId="{57EAAC4B-D155-4C96-A5D6-9BC102C82EFF}" dt="2024-09-02T22:42:19.153" v="3303" actId="165"/>
          <ac:grpSpMkLst>
            <pc:docMk/>
            <pc:sldMk cId="3274022134" sldId="2147471656"/>
            <ac:grpSpMk id="10" creationId="{A852E2B7-BE6E-64E1-01CC-BF472ED3468A}"/>
          </ac:grpSpMkLst>
        </pc:grpChg>
        <pc:grpChg chg="mod topLvl">
          <ac:chgData name="Connor Xu" userId="a2fa5610-7f85-41f8-9630-afc02cec4fa9" providerId="ADAL" clId="{57EAAC4B-D155-4C96-A5D6-9BC102C82EFF}" dt="2024-09-02T22:42:19.153" v="3303" actId="165"/>
          <ac:grpSpMkLst>
            <pc:docMk/>
            <pc:sldMk cId="3274022134" sldId="2147471656"/>
            <ac:grpSpMk id="14" creationId="{69C74A6C-21F8-6C52-6765-3DB37CCE7775}"/>
          </ac:grpSpMkLst>
        </pc:grpChg>
        <pc:grpChg chg="mod topLvl">
          <ac:chgData name="Connor Xu" userId="a2fa5610-7f85-41f8-9630-afc02cec4fa9" providerId="ADAL" clId="{57EAAC4B-D155-4C96-A5D6-9BC102C82EFF}" dt="2024-09-02T22:42:19.153" v="3303" actId="165"/>
          <ac:grpSpMkLst>
            <pc:docMk/>
            <pc:sldMk cId="3274022134" sldId="2147471656"/>
            <ac:grpSpMk id="15" creationId="{5105D69D-F438-E647-8B10-9BDB079AFD82}"/>
          </ac:grpSpMkLst>
        </pc:grpChg>
        <pc:grpChg chg="mod topLvl">
          <ac:chgData name="Connor Xu" userId="a2fa5610-7f85-41f8-9630-afc02cec4fa9" providerId="ADAL" clId="{57EAAC4B-D155-4C96-A5D6-9BC102C82EFF}" dt="2024-09-02T22:42:19.153" v="3303" actId="165"/>
          <ac:grpSpMkLst>
            <pc:docMk/>
            <pc:sldMk cId="3274022134" sldId="2147471656"/>
            <ac:grpSpMk id="16" creationId="{F3D83027-20FF-98A0-EE9B-469BD80AA127}"/>
          </ac:grpSpMkLst>
        </pc:grpChg>
        <pc:grpChg chg="mod topLvl">
          <ac:chgData name="Connor Xu" userId="a2fa5610-7f85-41f8-9630-afc02cec4fa9" providerId="ADAL" clId="{57EAAC4B-D155-4C96-A5D6-9BC102C82EFF}" dt="2024-09-02T22:42:19.153" v="3303" actId="165"/>
          <ac:grpSpMkLst>
            <pc:docMk/>
            <pc:sldMk cId="3274022134" sldId="2147471656"/>
            <ac:grpSpMk id="17" creationId="{997E32DB-B5A5-19CB-827A-67989BC83D84}"/>
          </ac:grpSpMkLst>
        </pc:grpChg>
        <pc:grpChg chg="del">
          <ac:chgData name="Connor Xu" userId="a2fa5610-7f85-41f8-9630-afc02cec4fa9" providerId="ADAL" clId="{57EAAC4B-D155-4C96-A5D6-9BC102C82EFF}" dt="2024-09-02T08:20:10.748" v="3291" actId="478"/>
          <ac:grpSpMkLst>
            <pc:docMk/>
            <pc:sldMk cId="3274022134" sldId="2147471656"/>
            <ac:grpSpMk id="60" creationId="{2982EC5E-6597-1D97-3258-37B26C357946}"/>
          </ac:grpSpMkLst>
        </pc:grpChg>
        <pc:picChg chg="del">
          <ac:chgData name="Connor Xu" userId="a2fa5610-7f85-41f8-9630-afc02cec4fa9" providerId="ADAL" clId="{57EAAC4B-D155-4C96-A5D6-9BC102C82EFF}" dt="2024-09-02T08:20:15.118" v="3293" actId="478"/>
          <ac:picMkLst>
            <pc:docMk/>
            <pc:sldMk cId="3274022134" sldId="2147471656"/>
            <ac:picMk id="62" creationId="{E268F032-2290-93A3-D084-780185791B13}"/>
          </ac:picMkLst>
        </pc:picChg>
        <pc:cxnChg chg="add mod">
          <ac:chgData name="Connor Xu" userId="a2fa5610-7f85-41f8-9630-afc02cec4fa9" providerId="ADAL" clId="{57EAAC4B-D155-4C96-A5D6-9BC102C82EFF}" dt="2024-09-02T22:42:53.411" v="3307" actId="208"/>
          <ac:cxnSpMkLst>
            <pc:docMk/>
            <pc:sldMk cId="3274022134" sldId="2147471656"/>
            <ac:cxnSpMk id="40" creationId="{DDC915AB-104B-1D76-EB7C-EF1CFB218D8B}"/>
          </ac:cxnSpMkLst>
        </pc:cxnChg>
        <pc:cxnChg chg="add mod">
          <ac:chgData name="Connor Xu" userId="a2fa5610-7f85-41f8-9630-afc02cec4fa9" providerId="ADAL" clId="{57EAAC4B-D155-4C96-A5D6-9BC102C82EFF}" dt="2024-09-02T22:43:14.046" v="3311" actId="208"/>
          <ac:cxnSpMkLst>
            <pc:docMk/>
            <pc:sldMk cId="3274022134" sldId="2147471656"/>
            <ac:cxnSpMk id="41" creationId="{5AC26D9B-05A7-8431-4B94-663063A36E68}"/>
          </ac:cxnSpMkLst>
        </pc:cxnChg>
        <pc:cxnChg chg="add mod">
          <ac:chgData name="Connor Xu" userId="a2fa5610-7f85-41f8-9630-afc02cec4fa9" providerId="ADAL" clId="{57EAAC4B-D155-4C96-A5D6-9BC102C82EFF}" dt="2024-09-02T22:43:50.902" v="3319" actId="208"/>
          <ac:cxnSpMkLst>
            <pc:docMk/>
            <pc:sldMk cId="3274022134" sldId="2147471656"/>
            <ac:cxnSpMk id="42" creationId="{B675F959-1E8F-CF08-F6D6-98E6DD7AF997}"/>
          </ac:cxnSpMkLst>
        </pc:cxnChg>
        <pc:cxnChg chg="add mod">
          <ac:chgData name="Connor Xu" userId="a2fa5610-7f85-41f8-9630-afc02cec4fa9" providerId="ADAL" clId="{57EAAC4B-D155-4C96-A5D6-9BC102C82EFF}" dt="2024-09-02T22:43:35.997" v="3315" actId="208"/>
          <ac:cxnSpMkLst>
            <pc:docMk/>
            <pc:sldMk cId="3274022134" sldId="2147471656"/>
            <ac:cxnSpMk id="49" creationId="{54CBD9CA-92F7-674F-0009-6DF6B1A4379A}"/>
          </ac:cxnSpMkLst>
        </pc:cxnChg>
      </pc:sldChg>
      <pc:sldChg chg="addSp delSp modSp add mod">
        <pc:chgData name="Connor Xu" userId="a2fa5610-7f85-41f8-9630-afc02cec4fa9" providerId="ADAL" clId="{57EAAC4B-D155-4C96-A5D6-9BC102C82EFF}" dt="2024-09-03T00:10:22.959" v="7408" actId="1036"/>
        <pc:sldMkLst>
          <pc:docMk/>
          <pc:sldMk cId="317380609" sldId="2147471681"/>
        </pc:sldMkLst>
        <pc:spChg chg="add del mod">
          <ac:chgData name="Connor Xu" userId="a2fa5610-7f85-41f8-9630-afc02cec4fa9" providerId="ADAL" clId="{57EAAC4B-D155-4C96-A5D6-9BC102C82EFF}" dt="2024-09-02T23:30:27.210" v="4489" actId="478"/>
          <ac:spMkLst>
            <pc:docMk/>
            <pc:sldMk cId="317380609" sldId="2147471681"/>
            <ac:spMk id="2" creationId="{F8C09BAF-09CF-485D-CF76-4DC361685118}"/>
          </ac:spMkLst>
        </pc:spChg>
        <pc:spChg chg="mod">
          <ac:chgData name="Connor Xu" userId="a2fa5610-7f85-41f8-9630-afc02cec4fa9" providerId="ADAL" clId="{57EAAC4B-D155-4C96-A5D6-9BC102C82EFF}" dt="2024-09-02T23:21:55.692" v="4188"/>
          <ac:spMkLst>
            <pc:docMk/>
            <pc:sldMk cId="317380609" sldId="2147471681"/>
            <ac:spMk id="3" creationId="{BB853E69-A90C-3E89-6E59-4F50810429A8}"/>
          </ac:spMkLst>
        </pc:spChg>
        <pc:spChg chg="mod">
          <ac:chgData name="Connor Xu" userId="a2fa5610-7f85-41f8-9630-afc02cec4fa9" providerId="ADAL" clId="{57EAAC4B-D155-4C96-A5D6-9BC102C82EFF}" dt="2024-09-03T00:10:22.959" v="7408" actId="1036"/>
          <ac:spMkLst>
            <pc:docMk/>
            <pc:sldMk cId="317380609" sldId="2147471681"/>
            <ac:spMk id="4" creationId="{D84E1ABD-09C0-34B4-2515-48183DD677F2}"/>
          </ac:spMkLst>
        </pc:spChg>
        <pc:spChg chg="mod">
          <ac:chgData name="Connor Xu" userId="a2fa5610-7f85-41f8-9630-afc02cec4fa9" providerId="ADAL" clId="{57EAAC4B-D155-4C96-A5D6-9BC102C82EFF}" dt="2024-09-03T00:10:22.959" v="7408" actId="1036"/>
          <ac:spMkLst>
            <pc:docMk/>
            <pc:sldMk cId="317380609" sldId="2147471681"/>
            <ac:spMk id="6" creationId="{9D8787CA-B4CC-2C3E-E783-018DAE389F8A}"/>
          </ac:spMkLst>
        </pc:spChg>
        <pc:spChg chg="mod">
          <ac:chgData name="Connor Xu" userId="a2fa5610-7f85-41f8-9630-afc02cec4fa9" providerId="ADAL" clId="{57EAAC4B-D155-4C96-A5D6-9BC102C82EFF}" dt="2024-09-03T00:10:22.959" v="7408" actId="1036"/>
          <ac:spMkLst>
            <pc:docMk/>
            <pc:sldMk cId="317380609" sldId="2147471681"/>
            <ac:spMk id="7" creationId="{E41C40E5-BFD6-0898-3ACA-3BB32AE9D26F}"/>
          </ac:spMkLst>
        </pc:spChg>
        <pc:spChg chg="del">
          <ac:chgData name="Connor Xu" userId="a2fa5610-7f85-41f8-9630-afc02cec4fa9" providerId="ADAL" clId="{57EAAC4B-D155-4C96-A5D6-9BC102C82EFF}" dt="2024-09-02T23:29:36.703" v="4472" actId="478"/>
          <ac:spMkLst>
            <pc:docMk/>
            <pc:sldMk cId="317380609" sldId="2147471681"/>
            <ac:spMk id="8" creationId="{8FE98830-AABD-E335-61CA-8D928AC9E2DE}"/>
          </ac:spMkLst>
        </pc:spChg>
        <pc:spChg chg="mod">
          <ac:chgData name="Connor Xu" userId="a2fa5610-7f85-41f8-9630-afc02cec4fa9" providerId="ADAL" clId="{57EAAC4B-D155-4C96-A5D6-9BC102C82EFF}" dt="2024-09-03T00:10:22.959" v="7408" actId="1036"/>
          <ac:spMkLst>
            <pc:docMk/>
            <pc:sldMk cId="317380609" sldId="2147471681"/>
            <ac:spMk id="9" creationId="{033267D3-05BA-6C1E-16E4-B4C6021F2EEF}"/>
          </ac:spMkLst>
        </pc:spChg>
        <pc:spChg chg="del">
          <ac:chgData name="Connor Xu" userId="a2fa5610-7f85-41f8-9630-afc02cec4fa9" providerId="ADAL" clId="{57EAAC4B-D155-4C96-A5D6-9BC102C82EFF}" dt="2024-09-02T23:29:36.703" v="4472" actId="478"/>
          <ac:spMkLst>
            <pc:docMk/>
            <pc:sldMk cId="317380609" sldId="2147471681"/>
            <ac:spMk id="10" creationId="{51EB5A4F-03B8-9362-64C5-B1E038C44593}"/>
          </ac:spMkLst>
        </pc:spChg>
        <pc:spChg chg="del mod">
          <ac:chgData name="Connor Xu" userId="a2fa5610-7f85-41f8-9630-afc02cec4fa9" providerId="ADAL" clId="{57EAAC4B-D155-4C96-A5D6-9BC102C82EFF}" dt="2024-09-02T23:29:31.416" v="4470" actId="478"/>
          <ac:spMkLst>
            <pc:docMk/>
            <pc:sldMk cId="317380609" sldId="2147471681"/>
            <ac:spMk id="11" creationId="{E6258602-98AE-F744-469B-9015C500840C}"/>
          </ac:spMkLst>
        </pc:spChg>
        <pc:spChg chg="del">
          <ac:chgData name="Connor Xu" userId="a2fa5610-7f85-41f8-9630-afc02cec4fa9" providerId="ADAL" clId="{57EAAC4B-D155-4C96-A5D6-9BC102C82EFF}" dt="2024-09-02T23:29:36.703" v="4472" actId="478"/>
          <ac:spMkLst>
            <pc:docMk/>
            <pc:sldMk cId="317380609" sldId="2147471681"/>
            <ac:spMk id="12" creationId="{D00BC2AD-2958-4D7B-5765-1372A99B7580}"/>
          </ac:spMkLst>
        </pc:spChg>
        <pc:spChg chg="del mod">
          <ac:chgData name="Connor Xu" userId="a2fa5610-7f85-41f8-9630-afc02cec4fa9" providerId="ADAL" clId="{57EAAC4B-D155-4C96-A5D6-9BC102C82EFF}" dt="2024-09-02T23:29:33.942" v="4471" actId="478"/>
          <ac:spMkLst>
            <pc:docMk/>
            <pc:sldMk cId="317380609" sldId="2147471681"/>
            <ac:spMk id="13" creationId="{4A953B82-F822-ED48-35B4-553455910FF9}"/>
          </ac:spMkLst>
        </pc:spChg>
        <pc:spChg chg="del">
          <ac:chgData name="Connor Xu" userId="a2fa5610-7f85-41f8-9630-afc02cec4fa9" providerId="ADAL" clId="{57EAAC4B-D155-4C96-A5D6-9BC102C82EFF}" dt="2024-09-02T23:29:33.942" v="4471" actId="478"/>
          <ac:spMkLst>
            <pc:docMk/>
            <pc:sldMk cId="317380609" sldId="2147471681"/>
            <ac:spMk id="14" creationId="{23F57812-E15A-D7BF-0F98-FAF086723A8D}"/>
          </ac:spMkLst>
        </pc:spChg>
        <pc:spChg chg="del">
          <ac:chgData name="Connor Xu" userId="a2fa5610-7f85-41f8-9630-afc02cec4fa9" providerId="ADAL" clId="{57EAAC4B-D155-4C96-A5D6-9BC102C82EFF}" dt="2024-09-02T23:29:33.942" v="4471" actId="478"/>
          <ac:spMkLst>
            <pc:docMk/>
            <pc:sldMk cId="317380609" sldId="2147471681"/>
            <ac:spMk id="15" creationId="{E229650F-0198-37B5-AC36-45466018C49D}"/>
          </ac:spMkLst>
        </pc:spChg>
        <pc:spChg chg="del">
          <ac:chgData name="Connor Xu" userId="a2fa5610-7f85-41f8-9630-afc02cec4fa9" providerId="ADAL" clId="{57EAAC4B-D155-4C96-A5D6-9BC102C82EFF}" dt="2024-09-02T23:29:33.942" v="4471" actId="478"/>
          <ac:spMkLst>
            <pc:docMk/>
            <pc:sldMk cId="317380609" sldId="2147471681"/>
            <ac:spMk id="16" creationId="{71CB6EB4-8B85-55B7-C3C8-8726693E678A}"/>
          </ac:spMkLst>
        </pc:spChg>
        <pc:spChg chg="add mod">
          <ac:chgData name="Connor Xu" userId="a2fa5610-7f85-41f8-9630-afc02cec4fa9" providerId="ADAL" clId="{57EAAC4B-D155-4C96-A5D6-9BC102C82EFF}" dt="2024-09-03T00:10:22.959" v="7408" actId="1036"/>
          <ac:spMkLst>
            <pc:docMk/>
            <pc:sldMk cId="317380609" sldId="2147471681"/>
            <ac:spMk id="17" creationId="{8A5FBC12-F38A-648C-4F3F-2F6D63A20EDD}"/>
          </ac:spMkLst>
        </pc:spChg>
        <pc:spChg chg="add mod">
          <ac:chgData name="Connor Xu" userId="a2fa5610-7f85-41f8-9630-afc02cec4fa9" providerId="ADAL" clId="{57EAAC4B-D155-4C96-A5D6-9BC102C82EFF}" dt="2024-09-03T00:10:22.959" v="7408" actId="1036"/>
          <ac:spMkLst>
            <pc:docMk/>
            <pc:sldMk cId="317380609" sldId="2147471681"/>
            <ac:spMk id="18" creationId="{B5D3C081-C436-6276-67C2-C35D6650B47C}"/>
          </ac:spMkLst>
        </pc:spChg>
        <pc:spChg chg="add mod">
          <ac:chgData name="Connor Xu" userId="a2fa5610-7f85-41f8-9630-afc02cec4fa9" providerId="ADAL" clId="{57EAAC4B-D155-4C96-A5D6-9BC102C82EFF}" dt="2024-09-03T00:10:22.959" v="7408" actId="1036"/>
          <ac:spMkLst>
            <pc:docMk/>
            <pc:sldMk cId="317380609" sldId="2147471681"/>
            <ac:spMk id="19" creationId="{97AD3516-DDE9-3112-FEB0-F38BE2D47078}"/>
          </ac:spMkLst>
        </pc:spChg>
        <pc:spChg chg="add mod">
          <ac:chgData name="Connor Xu" userId="a2fa5610-7f85-41f8-9630-afc02cec4fa9" providerId="ADAL" clId="{57EAAC4B-D155-4C96-A5D6-9BC102C82EFF}" dt="2024-09-03T00:10:22.959" v="7408" actId="1036"/>
          <ac:spMkLst>
            <pc:docMk/>
            <pc:sldMk cId="317380609" sldId="2147471681"/>
            <ac:spMk id="20" creationId="{2E008FE4-468A-5FBC-3D8A-4B9928CA518E}"/>
          </ac:spMkLst>
        </pc:spChg>
        <pc:spChg chg="add mod">
          <ac:chgData name="Connor Xu" userId="a2fa5610-7f85-41f8-9630-afc02cec4fa9" providerId="ADAL" clId="{57EAAC4B-D155-4C96-A5D6-9BC102C82EFF}" dt="2024-09-03T00:10:22.959" v="7408" actId="1036"/>
          <ac:spMkLst>
            <pc:docMk/>
            <pc:sldMk cId="317380609" sldId="2147471681"/>
            <ac:spMk id="21" creationId="{A169B4CD-4D70-EB80-CC74-A0834F2A0B8B}"/>
          </ac:spMkLst>
        </pc:spChg>
        <pc:spChg chg="add mod">
          <ac:chgData name="Connor Xu" userId="a2fa5610-7f85-41f8-9630-afc02cec4fa9" providerId="ADAL" clId="{57EAAC4B-D155-4C96-A5D6-9BC102C82EFF}" dt="2024-09-03T00:10:22.959" v="7408" actId="1036"/>
          <ac:spMkLst>
            <pc:docMk/>
            <pc:sldMk cId="317380609" sldId="2147471681"/>
            <ac:spMk id="22" creationId="{8D8441B3-B796-3CCC-8825-890BC44E2B46}"/>
          </ac:spMkLst>
        </pc:spChg>
        <pc:spChg chg="add mod">
          <ac:chgData name="Connor Xu" userId="a2fa5610-7f85-41f8-9630-afc02cec4fa9" providerId="ADAL" clId="{57EAAC4B-D155-4C96-A5D6-9BC102C82EFF}" dt="2024-09-03T00:10:22.959" v="7408" actId="1036"/>
          <ac:spMkLst>
            <pc:docMk/>
            <pc:sldMk cId="317380609" sldId="2147471681"/>
            <ac:spMk id="23" creationId="{8C5B962E-D15E-0D89-F987-E1E43251E4E6}"/>
          </ac:spMkLst>
        </pc:spChg>
        <pc:spChg chg="add mod">
          <ac:chgData name="Connor Xu" userId="a2fa5610-7f85-41f8-9630-afc02cec4fa9" providerId="ADAL" clId="{57EAAC4B-D155-4C96-A5D6-9BC102C82EFF}" dt="2024-09-03T00:10:22.959" v="7408" actId="1036"/>
          <ac:spMkLst>
            <pc:docMk/>
            <pc:sldMk cId="317380609" sldId="2147471681"/>
            <ac:spMk id="24" creationId="{787CB320-AA9D-8C92-195B-63C5A71A5BB2}"/>
          </ac:spMkLst>
        </pc:spChg>
        <pc:spChg chg="add mod">
          <ac:chgData name="Connor Xu" userId="a2fa5610-7f85-41f8-9630-afc02cec4fa9" providerId="ADAL" clId="{57EAAC4B-D155-4C96-A5D6-9BC102C82EFF}" dt="2024-09-03T00:10:22.959" v="7408" actId="1036"/>
          <ac:spMkLst>
            <pc:docMk/>
            <pc:sldMk cId="317380609" sldId="2147471681"/>
            <ac:spMk id="25" creationId="{41E25835-6056-2C8D-7D09-F6A7696FC99B}"/>
          </ac:spMkLst>
        </pc:spChg>
        <pc:spChg chg="add mod">
          <ac:chgData name="Connor Xu" userId="a2fa5610-7f85-41f8-9630-afc02cec4fa9" providerId="ADAL" clId="{57EAAC4B-D155-4C96-A5D6-9BC102C82EFF}" dt="2024-09-03T00:10:22.959" v="7408" actId="1036"/>
          <ac:spMkLst>
            <pc:docMk/>
            <pc:sldMk cId="317380609" sldId="2147471681"/>
            <ac:spMk id="26" creationId="{B1338060-DF91-B360-972E-0E959DA0114A}"/>
          </ac:spMkLst>
        </pc:spChg>
        <pc:spChg chg="add mod">
          <ac:chgData name="Connor Xu" userId="a2fa5610-7f85-41f8-9630-afc02cec4fa9" providerId="ADAL" clId="{57EAAC4B-D155-4C96-A5D6-9BC102C82EFF}" dt="2024-09-03T00:10:22.959" v="7408" actId="1036"/>
          <ac:spMkLst>
            <pc:docMk/>
            <pc:sldMk cId="317380609" sldId="2147471681"/>
            <ac:spMk id="27" creationId="{BB659721-7005-3690-7BEF-D768DD3D0D8D}"/>
          </ac:spMkLst>
        </pc:spChg>
        <pc:spChg chg="add mod">
          <ac:chgData name="Connor Xu" userId="a2fa5610-7f85-41f8-9630-afc02cec4fa9" providerId="ADAL" clId="{57EAAC4B-D155-4C96-A5D6-9BC102C82EFF}" dt="2024-09-03T00:10:22.959" v="7408" actId="1036"/>
          <ac:spMkLst>
            <pc:docMk/>
            <pc:sldMk cId="317380609" sldId="2147471681"/>
            <ac:spMk id="28" creationId="{8D4DDC3C-BF00-551D-C489-28293E768AD1}"/>
          </ac:spMkLst>
        </pc:spChg>
        <pc:spChg chg="mod">
          <ac:chgData name="Connor Xu" userId="a2fa5610-7f85-41f8-9630-afc02cec4fa9" providerId="ADAL" clId="{57EAAC4B-D155-4C96-A5D6-9BC102C82EFF}" dt="2024-09-03T00:10:17.648" v="7400" actId="403"/>
          <ac:spMkLst>
            <pc:docMk/>
            <pc:sldMk cId="317380609" sldId="2147471681"/>
            <ac:spMk id="33" creationId="{F98D407E-A1CB-A66B-19ED-C8DE5551F8D5}"/>
          </ac:spMkLst>
        </pc:spChg>
      </pc:sldChg>
      <pc:sldChg chg="modSp mod">
        <pc:chgData name="Connor Xu" userId="a2fa5610-7f85-41f8-9630-afc02cec4fa9" providerId="ADAL" clId="{57EAAC4B-D155-4C96-A5D6-9BC102C82EFF}" dt="2024-09-04T04:29:53.909" v="10131" actId="2711"/>
        <pc:sldMkLst>
          <pc:docMk/>
          <pc:sldMk cId="2109793814" sldId="2147471712"/>
        </pc:sldMkLst>
        <pc:spChg chg="mod">
          <ac:chgData name="Connor Xu" userId="a2fa5610-7f85-41f8-9630-afc02cec4fa9" providerId="ADAL" clId="{57EAAC4B-D155-4C96-A5D6-9BC102C82EFF}" dt="2024-09-04T04:29:53.909" v="10131" actId="2711"/>
          <ac:spMkLst>
            <pc:docMk/>
            <pc:sldMk cId="2109793814" sldId="2147471712"/>
            <ac:spMk id="2" creationId="{3C42A615-E19E-F1ED-CA05-77A2773C1430}"/>
          </ac:spMkLst>
        </pc:spChg>
      </pc:sldChg>
      <pc:sldChg chg="delSp modSp del mod">
        <pc:chgData name="Connor Xu" userId="a2fa5610-7f85-41f8-9630-afc02cec4fa9" providerId="ADAL" clId="{57EAAC4B-D155-4C96-A5D6-9BC102C82EFF}" dt="2024-09-02T08:18:50.193" v="3290" actId="47"/>
        <pc:sldMkLst>
          <pc:docMk/>
          <pc:sldMk cId="1934279466" sldId="2147471713"/>
        </pc:sldMkLst>
        <pc:spChg chg="mod">
          <ac:chgData name="Connor Xu" userId="a2fa5610-7f85-41f8-9630-afc02cec4fa9" providerId="ADAL" clId="{57EAAC4B-D155-4C96-A5D6-9BC102C82EFF}" dt="2024-09-02T06:45:08.357" v="634" actId="1076"/>
          <ac:spMkLst>
            <pc:docMk/>
            <pc:sldMk cId="1934279466" sldId="2147471713"/>
            <ac:spMk id="5" creationId="{F64A6E85-BECE-C17C-E08C-F9587F8DA8DD}"/>
          </ac:spMkLst>
        </pc:spChg>
        <pc:spChg chg="del">
          <ac:chgData name="Connor Xu" userId="a2fa5610-7f85-41f8-9630-afc02cec4fa9" providerId="ADAL" clId="{57EAAC4B-D155-4C96-A5D6-9BC102C82EFF}" dt="2024-09-02T06:45:04.303" v="633" actId="478"/>
          <ac:spMkLst>
            <pc:docMk/>
            <pc:sldMk cId="1934279466" sldId="2147471713"/>
            <ac:spMk id="6" creationId="{5E459DAB-63D8-B51A-8CDA-8FFB39CB03CD}"/>
          </ac:spMkLst>
        </pc:spChg>
      </pc:sldChg>
      <pc:sldChg chg="modSp new del mod ord">
        <pc:chgData name="Connor Xu" userId="a2fa5610-7f85-41f8-9630-afc02cec4fa9" providerId="ADAL" clId="{57EAAC4B-D155-4C96-A5D6-9BC102C82EFF}" dt="2024-09-03T02:55:50.390" v="9742" actId="47"/>
        <pc:sldMkLst>
          <pc:docMk/>
          <pc:sldMk cId="3668264655" sldId="2147471714"/>
        </pc:sldMkLst>
        <pc:spChg chg="mod">
          <ac:chgData name="Connor Xu" userId="a2fa5610-7f85-41f8-9630-afc02cec4fa9" providerId="ADAL" clId="{57EAAC4B-D155-4C96-A5D6-9BC102C82EFF}" dt="2024-09-02T06:41:32.249" v="228" actId="20577"/>
          <ac:spMkLst>
            <pc:docMk/>
            <pc:sldMk cId="3668264655" sldId="2147471714"/>
            <ac:spMk id="2" creationId="{C112DD15-2F72-E817-BFA9-3926B3B2312E}"/>
          </ac:spMkLst>
        </pc:spChg>
      </pc:sldChg>
      <pc:sldMasterChg chg="delSldLayout">
        <pc:chgData name="Connor Xu" userId="a2fa5610-7f85-41f8-9630-afc02cec4fa9" providerId="ADAL" clId="{57EAAC4B-D155-4C96-A5D6-9BC102C82EFF}" dt="2024-09-03T02:55:50.390" v="9742" actId="47"/>
        <pc:sldMasterMkLst>
          <pc:docMk/>
          <pc:sldMasterMk cId="3713331802" sldId="2147483670"/>
        </pc:sldMasterMkLst>
        <pc:sldLayoutChg chg="del">
          <pc:chgData name="Connor Xu" userId="a2fa5610-7f85-41f8-9630-afc02cec4fa9" providerId="ADAL" clId="{57EAAC4B-D155-4C96-A5D6-9BC102C82EFF}" dt="2024-09-02T08:18:50.193" v="3290" actId="47"/>
          <pc:sldLayoutMkLst>
            <pc:docMk/>
            <pc:sldMasterMk cId="3713331802" sldId="2147483670"/>
            <pc:sldLayoutMk cId="253005755" sldId="2147483804"/>
          </pc:sldLayoutMkLst>
        </pc:sldLayoutChg>
        <pc:sldLayoutChg chg="del">
          <pc:chgData name="Connor Xu" userId="a2fa5610-7f85-41f8-9630-afc02cec4fa9" providerId="ADAL" clId="{57EAAC4B-D155-4C96-A5D6-9BC102C82EFF}" dt="2024-09-03T02:55:50.390" v="9742" actId="47"/>
          <pc:sldLayoutMkLst>
            <pc:docMk/>
            <pc:sldMasterMk cId="3713331802" sldId="2147483670"/>
            <pc:sldLayoutMk cId="662125368" sldId="2147483805"/>
          </pc:sldLayoutMkLst>
        </pc:sldLayoutChg>
        <pc:sldLayoutChg chg="del">
          <pc:chgData name="Connor Xu" userId="a2fa5610-7f85-41f8-9630-afc02cec4fa9" providerId="ADAL" clId="{57EAAC4B-D155-4C96-A5D6-9BC102C82EFF}" dt="2024-09-02T23:44:00.508" v="4979" actId="47"/>
          <pc:sldLayoutMkLst>
            <pc:docMk/>
            <pc:sldMasterMk cId="3713331802" sldId="2147483670"/>
            <pc:sldLayoutMk cId="157176178" sldId="2147483806"/>
          </pc:sldLayoutMkLst>
        </pc:sldLayoutChg>
      </pc:sldMasterChg>
    </pc:docChg>
  </pc:docChgLst>
  <pc:docChgLst>
    <pc:chgData name="Connor Xu" userId="a2fa5610-7f85-41f8-9630-afc02cec4fa9" providerId="ADAL" clId="{DBA3AD92-5D80-4B55-9938-D1642B73B5C0}"/>
    <pc:docChg chg="undo redo custSel addSld delSld modSld sldOrd modSection">
      <pc:chgData name="Connor Xu" userId="a2fa5610-7f85-41f8-9630-afc02cec4fa9" providerId="ADAL" clId="{DBA3AD92-5D80-4B55-9938-D1642B73B5C0}" dt="2024-09-13T02:35:29.482" v="5624" actId="20577"/>
      <pc:docMkLst>
        <pc:docMk/>
      </pc:docMkLst>
      <pc:sldChg chg="add del">
        <pc:chgData name="Connor Xu" userId="a2fa5610-7f85-41f8-9630-afc02cec4fa9" providerId="ADAL" clId="{DBA3AD92-5D80-4B55-9938-D1642B73B5C0}" dt="2024-09-13T00:45:31.431" v="2742" actId="47"/>
        <pc:sldMkLst>
          <pc:docMk/>
          <pc:sldMk cId="4028001061" sldId="6899"/>
        </pc:sldMkLst>
      </pc:sldChg>
      <pc:sldChg chg="add del">
        <pc:chgData name="Connor Xu" userId="a2fa5610-7f85-41f8-9630-afc02cec4fa9" providerId="ADAL" clId="{DBA3AD92-5D80-4B55-9938-D1642B73B5C0}" dt="2024-09-13T00:33:30.831" v="1617" actId="47"/>
        <pc:sldMkLst>
          <pc:docMk/>
          <pc:sldMk cId="29716006" sldId="6900"/>
        </pc:sldMkLst>
      </pc:sldChg>
      <pc:sldChg chg="delSp modSp add del">
        <pc:chgData name="Connor Xu" userId="a2fa5610-7f85-41f8-9630-afc02cec4fa9" providerId="ADAL" clId="{DBA3AD92-5D80-4B55-9938-D1642B73B5C0}" dt="2024-09-13T00:33:33.244" v="1619" actId="47"/>
        <pc:sldMkLst>
          <pc:docMk/>
          <pc:sldMk cId="3578703083" sldId="6901"/>
        </pc:sldMkLst>
        <pc:spChg chg="mod">
          <ac:chgData name="Connor Xu" userId="a2fa5610-7f85-41f8-9630-afc02cec4fa9" providerId="ADAL" clId="{DBA3AD92-5D80-4B55-9938-D1642B73B5C0}" dt="2024-09-13T00:30:09.319" v="1449" actId="165"/>
          <ac:spMkLst>
            <pc:docMk/>
            <pc:sldMk cId="3578703083" sldId="6901"/>
            <ac:spMk id="33" creationId="{ECAA4FA8-623F-68D7-5433-CD3B0E4085FE}"/>
          </ac:spMkLst>
        </pc:spChg>
        <pc:spChg chg="mod">
          <ac:chgData name="Connor Xu" userId="a2fa5610-7f85-41f8-9630-afc02cec4fa9" providerId="ADAL" clId="{DBA3AD92-5D80-4B55-9938-D1642B73B5C0}" dt="2024-09-13T00:30:09.319" v="1449" actId="165"/>
          <ac:spMkLst>
            <pc:docMk/>
            <pc:sldMk cId="3578703083" sldId="6901"/>
            <ac:spMk id="34" creationId="{4D508899-F3A7-09DE-5567-A0C9F603C4D3}"/>
          </ac:spMkLst>
        </pc:spChg>
        <pc:spChg chg="mod">
          <ac:chgData name="Connor Xu" userId="a2fa5610-7f85-41f8-9630-afc02cec4fa9" providerId="ADAL" clId="{DBA3AD92-5D80-4B55-9938-D1642B73B5C0}" dt="2024-09-13T00:30:09.319" v="1449" actId="165"/>
          <ac:spMkLst>
            <pc:docMk/>
            <pc:sldMk cId="3578703083" sldId="6901"/>
            <ac:spMk id="36" creationId="{38808AF6-78F5-7C16-CDE6-C8980E56EEE5}"/>
          </ac:spMkLst>
        </pc:spChg>
        <pc:spChg chg="mod">
          <ac:chgData name="Connor Xu" userId="a2fa5610-7f85-41f8-9630-afc02cec4fa9" providerId="ADAL" clId="{DBA3AD92-5D80-4B55-9938-D1642B73B5C0}" dt="2024-09-13T00:30:09.319" v="1449" actId="165"/>
          <ac:spMkLst>
            <pc:docMk/>
            <pc:sldMk cId="3578703083" sldId="6901"/>
            <ac:spMk id="37" creationId="{6235D1B6-5607-DE38-6F3D-7EFAD8511ADC}"/>
          </ac:spMkLst>
        </pc:spChg>
        <pc:spChg chg="mod">
          <ac:chgData name="Connor Xu" userId="a2fa5610-7f85-41f8-9630-afc02cec4fa9" providerId="ADAL" clId="{DBA3AD92-5D80-4B55-9938-D1642B73B5C0}" dt="2024-09-13T00:30:09.319" v="1449" actId="165"/>
          <ac:spMkLst>
            <pc:docMk/>
            <pc:sldMk cId="3578703083" sldId="6901"/>
            <ac:spMk id="39" creationId="{2DB9FAE2-9C69-6A25-B28F-27DB95B0D991}"/>
          </ac:spMkLst>
        </pc:spChg>
        <pc:spChg chg="mod">
          <ac:chgData name="Connor Xu" userId="a2fa5610-7f85-41f8-9630-afc02cec4fa9" providerId="ADAL" clId="{DBA3AD92-5D80-4B55-9938-D1642B73B5C0}" dt="2024-09-13T00:30:09.319" v="1449" actId="165"/>
          <ac:spMkLst>
            <pc:docMk/>
            <pc:sldMk cId="3578703083" sldId="6901"/>
            <ac:spMk id="40" creationId="{6B59F928-093D-ED69-01EA-82C6324221AE}"/>
          </ac:spMkLst>
        </pc:spChg>
        <pc:spChg chg="mod topLvl">
          <ac:chgData name="Connor Xu" userId="a2fa5610-7f85-41f8-9630-afc02cec4fa9" providerId="ADAL" clId="{DBA3AD92-5D80-4B55-9938-D1642B73B5C0}" dt="2024-09-13T00:30:09.319" v="1449" actId="165"/>
          <ac:spMkLst>
            <pc:docMk/>
            <pc:sldMk cId="3578703083" sldId="6901"/>
            <ac:spMk id="47" creationId="{DFAC255F-1647-A878-0720-78B72FB2F9A3}"/>
          </ac:spMkLst>
        </pc:spChg>
        <pc:spChg chg="mod topLvl">
          <ac:chgData name="Connor Xu" userId="a2fa5610-7f85-41f8-9630-afc02cec4fa9" providerId="ADAL" clId="{DBA3AD92-5D80-4B55-9938-D1642B73B5C0}" dt="2024-09-13T00:30:09.319" v="1449" actId="165"/>
          <ac:spMkLst>
            <pc:docMk/>
            <pc:sldMk cId="3578703083" sldId="6901"/>
            <ac:spMk id="52" creationId="{10A7ACD4-55A2-C98A-E928-35EA85150CAA}"/>
          </ac:spMkLst>
        </pc:spChg>
        <pc:grpChg chg="mod topLvl">
          <ac:chgData name="Connor Xu" userId="a2fa5610-7f85-41f8-9630-afc02cec4fa9" providerId="ADAL" clId="{DBA3AD92-5D80-4B55-9938-D1642B73B5C0}" dt="2024-09-13T00:30:09.319" v="1449" actId="165"/>
          <ac:grpSpMkLst>
            <pc:docMk/>
            <pc:sldMk cId="3578703083" sldId="6901"/>
            <ac:grpSpMk id="32" creationId="{C41BEEFF-25C1-A263-6BF1-0F086BA59E33}"/>
          </ac:grpSpMkLst>
        </pc:grpChg>
        <pc:grpChg chg="mod topLvl">
          <ac:chgData name="Connor Xu" userId="a2fa5610-7f85-41f8-9630-afc02cec4fa9" providerId="ADAL" clId="{DBA3AD92-5D80-4B55-9938-D1642B73B5C0}" dt="2024-09-13T00:30:09.319" v="1449" actId="165"/>
          <ac:grpSpMkLst>
            <pc:docMk/>
            <pc:sldMk cId="3578703083" sldId="6901"/>
            <ac:grpSpMk id="35" creationId="{2ED177C4-DF4B-8987-0572-436C1E50F77D}"/>
          </ac:grpSpMkLst>
        </pc:grpChg>
        <pc:grpChg chg="mod topLvl">
          <ac:chgData name="Connor Xu" userId="a2fa5610-7f85-41f8-9630-afc02cec4fa9" providerId="ADAL" clId="{DBA3AD92-5D80-4B55-9938-D1642B73B5C0}" dt="2024-09-13T00:30:09.319" v="1449" actId="165"/>
          <ac:grpSpMkLst>
            <pc:docMk/>
            <pc:sldMk cId="3578703083" sldId="6901"/>
            <ac:grpSpMk id="38" creationId="{DD6A386C-9E6B-5107-5501-87782C5B6BED}"/>
          </ac:grpSpMkLst>
        </pc:grpChg>
        <pc:grpChg chg="del">
          <ac:chgData name="Connor Xu" userId="a2fa5610-7f85-41f8-9630-afc02cec4fa9" providerId="ADAL" clId="{DBA3AD92-5D80-4B55-9938-D1642B73B5C0}" dt="2024-09-13T00:30:09.319" v="1449" actId="165"/>
          <ac:grpSpMkLst>
            <pc:docMk/>
            <pc:sldMk cId="3578703083" sldId="6901"/>
            <ac:grpSpMk id="54" creationId="{42FD554D-CB88-E465-7DB7-860D8B4A4F07}"/>
          </ac:grpSpMkLst>
        </pc:grpChg>
      </pc:sldChg>
      <pc:sldChg chg="modSp mod">
        <pc:chgData name="Connor Xu" userId="a2fa5610-7f85-41f8-9630-afc02cec4fa9" providerId="ADAL" clId="{DBA3AD92-5D80-4B55-9938-D1642B73B5C0}" dt="2024-09-12T23:37:08.268" v="6" actId="20577"/>
        <pc:sldMkLst>
          <pc:docMk/>
          <pc:sldMk cId="2083619045" sldId="2147471602"/>
        </pc:sldMkLst>
        <pc:spChg chg="mod">
          <ac:chgData name="Connor Xu" userId="a2fa5610-7f85-41f8-9630-afc02cec4fa9" providerId="ADAL" clId="{DBA3AD92-5D80-4B55-9938-D1642B73B5C0}" dt="2024-09-12T23:37:08.268" v="6" actId="20577"/>
          <ac:spMkLst>
            <pc:docMk/>
            <pc:sldMk cId="2083619045" sldId="2147471602"/>
            <ac:spMk id="4" creationId="{74695963-93D3-CEED-3211-EA22860FE331}"/>
          </ac:spMkLst>
        </pc:spChg>
      </pc:sldChg>
      <pc:sldChg chg="del">
        <pc:chgData name="Connor Xu" userId="a2fa5610-7f85-41f8-9630-afc02cec4fa9" providerId="ADAL" clId="{DBA3AD92-5D80-4B55-9938-D1642B73B5C0}" dt="2024-09-12T23:50:12.368" v="73" actId="47"/>
        <pc:sldMkLst>
          <pc:docMk/>
          <pc:sldMk cId="861167672" sldId="2147471655"/>
        </pc:sldMkLst>
      </pc:sldChg>
      <pc:sldChg chg="del">
        <pc:chgData name="Connor Xu" userId="a2fa5610-7f85-41f8-9630-afc02cec4fa9" providerId="ADAL" clId="{DBA3AD92-5D80-4B55-9938-D1642B73B5C0}" dt="2024-09-12T23:50:10.445" v="72" actId="47"/>
        <pc:sldMkLst>
          <pc:docMk/>
          <pc:sldMk cId="3274022134" sldId="2147471656"/>
        </pc:sldMkLst>
      </pc:sldChg>
      <pc:sldChg chg="delSp modSp mod">
        <pc:chgData name="Connor Xu" userId="a2fa5610-7f85-41f8-9630-afc02cec4fa9" providerId="ADAL" clId="{DBA3AD92-5D80-4B55-9938-D1642B73B5C0}" dt="2024-09-13T02:35:29.482" v="5624" actId="20577"/>
        <pc:sldMkLst>
          <pc:docMk/>
          <pc:sldMk cId="3575811757" sldId="2147471719"/>
        </pc:sldMkLst>
        <pc:spChg chg="mod">
          <ac:chgData name="Connor Xu" userId="a2fa5610-7f85-41f8-9630-afc02cec4fa9" providerId="ADAL" clId="{DBA3AD92-5D80-4B55-9938-D1642B73B5C0}" dt="2024-09-13T02:35:29.482" v="5624" actId="20577"/>
          <ac:spMkLst>
            <pc:docMk/>
            <pc:sldMk cId="3575811757" sldId="2147471719"/>
            <ac:spMk id="3" creationId="{80CE8119-45A9-B497-B743-3798888405B8}"/>
          </ac:spMkLst>
        </pc:spChg>
        <pc:spChg chg="mod">
          <ac:chgData name="Connor Xu" userId="a2fa5610-7f85-41f8-9630-afc02cec4fa9" providerId="ADAL" clId="{DBA3AD92-5D80-4B55-9938-D1642B73B5C0}" dt="2024-09-13T02:34:45.747" v="5489" actId="20577"/>
          <ac:spMkLst>
            <pc:docMk/>
            <pc:sldMk cId="3575811757" sldId="2147471719"/>
            <ac:spMk id="4" creationId="{5BE56102-969D-60C5-E08D-D27432E3F129}"/>
          </ac:spMkLst>
        </pc:spChg>
        <pc:spChg chg="mod topLvl">
          <ac:chgData name="Connor Xu" userId="a2fa5610-7f85-41f8-9630-afc02cec4fa9" providerId="ADAL" clId="{DBA3AD92-5D80-4B55-9938-D1642B73B5C0}" dt="2024-09-13T02:31:29.584" v="5147" actId="20577"/>
          <ac:spMkLst>
            <pc:docMk/>
            <pc:sldMk cId="3575811757" sldId="2147471719"/>
            <ac:spMk id="5" creationId="{414FB662-191A-6AE4-B396-41A4E291EEB6}"/>
          </ac:spMkLst>
        </pc:spChg>
        <pc:spChg chg="mod topLvl">
          <ac:chgData name="Connor Xu" userId="a2fa5610-7f85-41f8-9630-afc02cec4fa9" providerId="ADAL" clId="{DBA3AD92-5D80-4B55-9938-D1642B73B5C0}" dt="2024-09-13T00:14:52.250" v="1144" actId="1035"/>
          <ac:spMkLst>
            <pc:docMk/>
            <pc:sldMk cId="3575811757" sldId="2147471719"/>
            <ac:spMk id="13" creationId="{0B97B9F7-FF65-85B1-EEB7-8A841D8AA593}"/>
          </ac:spMkLst>
        </pc:spChg>
        <pc:spChg chg="mod">
          <ac:chgData name="Connor Xu" userId="a2fa5610-7f85-41f8-9630-afc02cec4fa9" providerId="ADAL" clId="{DBA3AD92-5D80-4B55-9938-D1642B73B5C0}" dt="2024-09-13T02:32:15.677" v="5250" actId="20577"/>
          <ac:spMkLst>
            <pc:docMk/>
            <pc:sldMk cId="3575811757" sldId="2147471719"/>
            <ac:spMk id="21" creationId="{FB2D641F-7EE6-BED9-C5FC-DF6B9F5C3E5D}"/>
          </ac:spMkLst>
        </pc:spChg>
        <pc:spChg chg="mod topLvl">
          <ac:chgData name="Connor Xu" userId="a2fa5610-7f85-41f8-9630-afc02cec4fa9" providerId="ADAL" clId="{DBA3AD92-5D80-4B55-9938-D1642B73B5C0}" dt="2024-09-13T02:35:09.170" v="5580" actId="20577"/>
          <ac:spMkLst>
            <pc:docMk/>
            <pc:sldMk cId="3575811757" sldId="2147471719"/>
            <ac:spMk id="24" creationId="{A68786C5-0F08-67B4-EF2E-B2FD83DED675}"/>
          </ac:spMkLst>
        </pc:spChg>
        <pc:spChg chg="mod topLvl">
          <ac:chgData name="Connor Xu" userId="a2fa5610-7f85-41f8-9630-afc02cec4fa9" providerId="ADAL" clId="{DBA3AD92-5D80-4B55-9938-D1642B73B5C0}" dt="2024-09-13T00:14:52.250" v="1144" actId="1035"/>
          <ac:spMkLst>
            <pc:docMk/>
            <pc:sldMk cId="3575811757" sldId="2147471719"/>
            <ac:spMk id="25" creationId="{7468EDA2-3039-B298-282F-E1688E17F2A3}"/>
          </ac:spMkLst>
        </pc:spChg>
        <pc:grpChg chg="del">
          <ac:chgData name="Connor Xu" userId="a2fa5610-7f85-41f8-9630-afc02cec4fa9" providerId="ADAL" clId="{DBA3AD92-5D80-4B55-9938-D1642B73B5C0}" dt="2024-09-13T00:14:34.819" v="1119" actId="165"/>
          <ac:grpSpMkLst>
            <pc:docMk/>
            <pc:sldMk cId="3575811757" sldId="2147471719"/>
            <ac:grpSpMk id="2" creationId="{783E8177-4E17-C2F0-B7A6-5F4AAF0C5FFD}"/>
          </ac:grpSpMkLst>
        </pc:grpChg>
        <pc:grpChg chg="del mod topLvl">
          <ac:chgData name="Connor Xu" userId="a2fa5610-7f85-41f8-9630-afc02cec4fa9" providerId="ADAL" clId="{DBA3AD92-5D80-4B55-9938-D1642B73B5C0}" dt="2024-09-13T00:14:41.499" v="1122" actId="165"/>
          <ac:grpSpMkLst>
            <pc:docMk/>
            <pc:sldMk cId="3575811757" sldId="2147471719"/>
            <ac:grpSpMk id="16" creationId="{5C716E65-6538-869C-BA31-11C7C000A0EB}"/>
          </ac:grpSpMkLst>
        </pc:grpChg>
        <pc:grpChg chg="del mod topLvl">
          <ac:chgData name="Connor Xu" userId="a2fa5610-7f85-41f8-9630-afc02cec4fa9" providerId="ADAL" clId="{DBA3AD92-5D80-4B55-9938-D1642B73B5C0}" dt="2024-09-13T00:14:41.499" v="1122" actId="165"/>
          <ac:grpSpMkLst>
            <pc:docMk/>
            <pc:sldMk cId="3575811757" sldId="2147471719"/>
            <ac:grpSpMk id="23" creationId="{ED3C8EF0-03D9-EB2F-A0BE-45CD4AFB7BE4}"/>
          </ac:grpSpMkLst>
        </pc:grpChg>
      </pc:sldChg>
      <pc:sldChg chg="del">
        <pc:chgData name="Connor Xu" userId="a2fa5610-7f85-41f8-9630-afc02cec4fa9" providerId="ADAL" clId="{DBA3AD92-5D80-4B55-9938-D1642B73B5C0}" dt="2024-09-13T00:45:48.053" v="2743" actId="47"/>
        <pc:sldMkLst>
          <pc:docMk/>
          <pc:sldMk cId="2127873239" sldId="2147471720"/>
        </pc:sldMkLst>
      </pc:sldChg>
      <pc:sldChg chg="del">
        <pc:chgData name="Connor Xu" userId="a2fa5610-7f85-41f8-9630-afc02cec4fa9" providerId="ADAL" clId="{DBA3AD92-5D80-4B55-9938-D1642B73B5C0}" dt="2024-09-13T00:45:48.053" v="2743" actId="47"/>
        <pc:sldMkLst>
          <pc:docMk/>
          <pc:sldMk cId="4165101680" sldId="2147471721"/>
        </pc:sldMkLst>
      </pc:sldChg>
      <pc:sldChg chg="del">
        <pc:chgData name="Connor Xu" userId="a2fa5610-7f85-41f8-9630-afc02cec4fa9" providerId="ADAL" clId="{DBA3AD92-5D80-4B55-9938-D1642B73B5C0}" dt="2024-09-13T00:45:48.053" v="2743" actId="47"/>
        <pc:sldMkLst>
          <pc:docMk/>
          <pc:sldMk cId="1668175224" sldId="2147471723"/>
        </pc:sldMkLst>
      </pc:sldChg>
      <pc:sldChg chg="addSp delSp modSp mod">
        <pc:chgData name="Connor Xu" userId="a2fa5610-7f85-41f8-9630-afc02cec4fa9" providerId="ADAL" clId="{DBA3AD92-5D80-4B55-9938-D1642B73B5C0}" dt="2024-09-13T01:01:11.714" v="3958" actId="207"/>
        <pc:sldMkLst>
          <pc:docMk/>
          <pc:sldMk cId="2717348167" sldId="2147471724"/>
        </pc:sldMkLst>
        <pc:spChg chg="mod">
          <ac:chgData name="Connor Xu" userId="a2fa5610-7f85-41f8-9630-afc02cec4fa9" providerId="ADAL" clId="{DBA3AD92-5D80-4B55-9938-D1642B73B5C0}" dt="2024-09-13T00:52:36.719" v="3013" actId="2711"/>
          <ac:spMkLst>
            <pc:docMk/>
            <pc:sldMk cId="2717348167" sldId="2147471724"/>
            <ac:spMk id="2" creationId="{B068FAC4-4E35-4912-1E95-4C38FB047EE7}"/>
          </ac:spMkLst>
        </pc:spChg>
        <pc:spChg chg="mod">
          <ac:chgData name="Connor Xu" userId="a2fa5610-7f85-41f8-9630-afc02cec4fa9" providerId="ADAL" clId="{DBA3AD92-5D80-4B55-9938-D1642B73B5C0}" dt="2024-09-13T00:53:03.705" v="3332" actId="948"/>
          <ac:spMkLst>
            <pc:docMk/>
            <pc:sldMk cId="2717348167" sldId="2147471724"/>
            <ac:spMk id="3" creationId="{0B0E0EEE-AAF7-27D9-5453-D9B85663617E}"/>
          </ac:spMkLst>
        </pc:spChg>
        <pc:spChg chg="add del mod modVis">
          <ac:chgData name="Connor Xu" userId="a2fa5610-7f85-41f8-9630-afc02cec4fa9" providerId="ADAL" clId="{DBA3AD92-5D80-4B55-9938-D1642B73B5C0}" dt="2024-09-13T00:47:36.035" v="2795"/>
          <ac:spMkLst>
            <pc:docMk/>
            <pc:sldMk cId="2717348167" sldId="2147471724"/>
            <ac:spMk id="5" creationId="{7742C9A5-AC1C-CE7B-6FF5-C081A38D5EF1}"/>
          </ac:spMkLst>
        </pc:spChg>
        <pc:spChg chg="add del mod modVis">
          <ac:chgData name="Connor Xu" userId="a2fa5610-7f85-41f8-9630-afc02cec4fa9" providerId="ADAL" clId="{DBA3AD92-5D80-4B55-9938-D1642B73B5C0}" dt="2024-09-13T00:47:39.786" v="2853"/>
          <ac:spMkLst>
            <pc:docMk/>
            <pc:sldMk cId="2717348167" sldId="2147471724"/>
            <ac:spMk id="7" creationId="{E1EEFAA8-4AE9-F64B-693D-DC4690957220}"/>
          </ac:spMkLst>
        </pc:spChg>
        <pc:spChg chg="add del mod modVis">
          <ac:chgData name="Connor Xu" userId="a2fa5610-7f85-41f8-9630-afc02cec4fa9" providerId="ADAL" clId="{DBA3AD92-5D80-4B55-9938-D1642B73B5C0}" dt="2024-09-13T00:52:46.658" v="3094"/>
          <ac:spMkLst>
            <pc:docMk/>
            <pc:sldMk cId="2717348167" sldId="2147471724"/>
            <ac:spMk id="8" creationId="{87D9A644-EA29-4ED0-DA5D-DC6DED26AB5C}"/>
          </ac:spMkLst>
        </pc:spChg>
        <pc:spChg chg="add del mod modVis">
          <ac:chgData name="Connor Xu" userId="a2fa5610-7f85-41f8-9630-afc02cec4fa9" providerId="ADAL" clId="{DBA3AD92-5D80-4B55-9938-D1642B73B5C0}" dt="2024-09-13T00:52:49.053" v="3133"/>
          <ac:spMkLst>
            <pc:docMk/>
            <pc:sldMk cId="2717348167" sldId="2147471724"/>
            <ac:spMk id="9" creationId="{372E7460-A613-0B9F-5AAA-9AABF671D221}"/>
          </ac:spMkLst>
        </pc:spChg>
        <pc:spChg chg="add del mod modVis">
          <ac:chgData name="Connor Xu" userId="a2fa5610-7f85-41f8-9630-afc02cec4fa9" providerId="ADAL" clId="{DBA3AD92-5D80-4B55-9938-D1642B73B5C0}" dt="2024-09-13T00:52:54.864" v="3193"/>
          <ac:spMkLst>
            <pc:docMk/>
            <pc:sldMk cId="2717348167" sldId="2147471724"/>
            <ac:spMk id="10" creationId="{14E0325E-CDDB-E727-1AE1-9BD3C05FA26B}"/>
          </ac:spMkLst>
        </pc:spChg>
        <pc:spChg chg="add del mod modVis">
          <ac:chgData name="Connor Xu" userId="a2fa5610-7f85-41f8-9630-afc02cec4fa9" providerId="ADAL" clId="{DBA3AD92-5D80-4B55-9938-D1642B73B5C0}" dt="2024-09-13T00:52:58.261" v="3245"/>
          <ac:spMkLst>
            <pc:docMk/>
            <pc:sldMk cId="2717348167" sldId="2147471724"/>
            <ac:spMk id="11" creationId="{ECF4B281-AE16-B7C7-EE6F-2FA9B6686E36}"/>
          </ac:spMkLst>
        </pc:spChg>
        <pc:spChg chg="add del mod modVis">
          <ac:chgData name="Connor Xu" userId="a2fa5610-7f85-41f8-9630-afc02cec4fa9" providerId="ADAL" clId="{DBA3AD92-5D80-4B55-9938-D1642B73B5C0}" dt="2024-09-13T00:52:59.896" v="3282"/>
          <ac:spMkLst>
            <pc:docMk/>
            <pc:sldMk cId="2717348167" sldId="2147471724"/>
            <ac:spMk id="12" creationId="{D66739BA-BC08-A149-2F23-24CF140C3EA3}"/>
          </ac:spMkLst>
        </pc:spChg>
        <pc:spChg chg="add del mod modVis">
          <ac:chgData name="Connor Xu" userId="a2fa5610-7f85-41f8-9630-afc02cec4fa9" providerId="ADAL" clId="{DBA3AD92-5D80-4B55-9938-D1642B73B5C0}" dt="2024-09-13T00:53:00.518" v="3315"/>
          <ac:spMkLst>
            <pc:docMk/>
            <pc:sldMk cId="2717348167" sldId="2147471724"/>
            <ac:spMk id="13" creationId="{34ACF9B7-7DBE-2D6A-0AE5-6918B4FA885A}"/>
          </ac:spMkLst>
        </pc:spChg>
        <pc:spChg chg="add del mod modVis">
          <ac:chgData name="Connor Xu" userId="a2fa5610-7f85-41f8-9630-afc02cec4fa9" providerId="ADAL" clId="{DBA3AD92-5D80-4B55-9938-D1642B73B5C0}" dt="2024-09-13T00:53:03.745" v="3359"/>
          <ac:spMkLst>
            <pc:docMk/>
            <pc:sldMk cId="2717348167" sldId="2147471724"/>
            <ac:spMk id="14" creationId="{3EFC89BE-3534-88A0-FA76-C06FA8C18392}"/>
          </ac:spMkLst>
        </pc:spChg>
        <pc:graphicFrameChg chg="mod modGraphic">
          <ac:chgData name="Connor Xu" userId="a2fa5610-7f85-41f8-9630-afc02cec4fa9" providerId="ADAL" clId="{DBA3AD92-5D80-4B55-9938-D1642B73B5C0}" dt="2024-09-13T01:01:11.714" v="3958" actId="207"/>
          <ac:graphicFrameMkLst>
            <pc:docMk/>
            <pc:sldMk cId="2717348167" sldId="2147471724"/>
            <ac:graphicFrameMk id="4" creationId="{BD48924B-0496-CA2C-8D73-A47E59DB3E4C}"/>
          </ac:graphicFrameMkLst>
        </pc:graphicFrameChg>
        <pc:graphicFrameChg chg="add mod ord modVis">
          <ac:chgData name="Connor Xu" userId="a2fa5610-7f85-41f8-9630-afc02cec4fa9" providerId="ADAL" clId="{DBA3AD92-5D80-4B55-9938-D1642B73B5C0}" dt="2024-09-13T00:53:03.748" v="3361"/>
          <ac:graphicFrameMkLst>
            <pc:docMk/>
            <pc:sldMk cId="2717348167" sldId="2147471724"/>
            <ac:graphicFrameMk id="6" creationId="{4CEFBE91-2D89-61B4-337F-14E326438BB1}"/>
          </ac:graphicFrameMkLst>
        </pc:graphicFrameChg>
      </pc:sldChg>
      <pc:sldChg chg="del">
        <pc:chgData name="Connor Xu" userId="a2fa5610-7f85-41f8-9630-afc02cec4fa9" providerId="ADAL" clId="{DBA3AD92-5D80-4B55-9938-D1642B73B5C0}" dt="2024-09-13T00:45:48.053" v="2743" actId="47"/>
        <pc:sldMkLst>
          <pc:docMk/>
          <pc:sldMk cId="30117967" sldId="2147471725"/>
        </pc:sldMkLst>
      </pc:sldChg>
      <pc:sldChg chg="del">
        <pc:chgData name="Connor Xu" userId="a2fa5610-7f85-41f8-9630-afc02cec4fa9" providerId="ADAL" clId="{DBA3AD92-5D80-4B55-9938-D1642B73B5C0}" dt="2024-09-13T00:45:48.053" v="2743" actId="47"/>
        <pc:sldMkLst>
          <pc:docMk/>
          <pc:sldMk cId="1563573229" sldId="2147471726"/>
        </pc:sldMkLst>
      </pc:sldChg>
      <pc:sldChg chg="del">
        <pc:chgData name="Connor Xu" userId="a2fa5610-7f85-41f8-9630-afc02cec4fa9" providerId="ADAL" clId="{DBA3AD92-5D80-4B55-9938-D1642B73B5C0}" dt="2024-09-13T00:57:03.322" v="3428" actId="47"/>
        <pc:sldMkLst>
          <pc:docMk/>
          <pc:sldMk cId="1299380938" sldId="2147471727"/>
        </pc:sldMkLst>
      </pc:sldChg>
      <pc:sldChg chg="del">
        <pc:chgData name="Connor Xu" userId="a2fa5610-7f85-41f8-9630-afc02cec4fa9" providerId="ADAL" clId="{DBA3AD92-5D80-4B55-9938-D1642B73B5C0}" dt="2024-09-13T00:57:03.322" v="3428" actId="47"/>
        <pc:sldMkLst>
          <pc:docMk/>
          <pc:sldMk cId="4217258338" sldId="2147471728"/>
        </pc:sldMkLst>
      </pc:sldChg>
      <pc:sldChg chg="modSp mod">
        <pc:chgData name="Connor Xu" userId="a2fa5610-7f85-41f8-9630-afc02cec4fa9" providerId="ADAL" clId="{DBA3AD92-5D80-4B55-9938-D1642B73B5C0}" dt="2024-09-12T23:48:51.973" v="69" actId="20577"/>
        <pc:sldMkLst>
          <pc:docMk/>
          <pc:sldMk cId="3735286326" sldId="2147471729"/>
        </pc:sldMkLst>
        <pc:spChg chg="mod">
          <ac:chgData name="Connor Xu" userId="a2fa5610-7f85-41f8-9630-afc02cec4fa9" providerId="ADAL" clId="{DBA3AD92-5D80-4B55-9938-D1642B73B5C0}" dt="2024-09-12T23:38:08.234" v="24" actId="20577"/>
          <ac:spMkLst>
            <pc:docMk/>
            <pc:sldMk cId="3735286326" sldId="2147471729"/>
            <ac:spMk id="9" creationId="{EC7C2BED-2407-5028-C4AF-EF23897CE63F}"/>
          </ac:spMkLst>
        </pc:spChg>
        <pc:spChg chg="mod">
          <ac:chgData name="Connor Xu" userId="a2fa5610-7f85-41f8-9630-afc02cec4fa9" providerId="ADAL" clId="{DBA3AD92-5D80-4B55-9938-D1642B73B5C0}" dt="2024-09-12T23:48:51.973" v="69" actId="20577"/>
          <ac:spMkLst>
            <pc:docMk/>
            <pc:sldMk cId="3735286326" sldId="2147471729"/>
            <ac:spMk id="10" creationId="{943ECE6E-897E-B14C-3F86-EDF303FB621E}"/>
          </ac:spMkLst>
        </pc:spChg>
      </pc:sldChg>
      <pc:sldChg chg="addSp delSp modSp mod ord">
        <pc:chgData name="Connor Xu" userId="a2fa5610-7f85-41f8-9630-afc02cec4fa9" providerId="ADAL" clId="{DBA3AD92-5D80-4B55-9938-D1642B73B5C0}" dt="2024-09-13T02:32:49.218" v="5254" actId="2711"/>
        <pc:sldMkLst>
          <pc:docMk/>
          <pc:sldMk cId="825503615" sldId="2147471730"/>
        </pc:sldMkLst>
        <pc:spChg chg="mod ord">
          <ac:chgData name="Connor Xu" userId="a2fa5610-7f85-41f8-9630-afc02cec4fa9" providerId="ADAL" clId="{DBA3AD92-5D80-4B55-9938-D1642B73B5C0}" dt="2024-09-13T00:29:33.146" v="1432"/>
          <ac:spMkLst>
            <pc:docMk/>
            <pc:sldMk cId="825503615" sldId="2147471730"/>
            <ac:spMk id="3" creationId="{70A675F7-CAF4-83EC-53BD-56B259073B05}"/>
          </ac:spMkLst>
        </pc:spChg>
        <pc:spChg chg="mod">
          <ac:chgData name="Connor Xu" userId="a2fa5610-7f85-41f8-9630-afc02cec4fa9" providerId="ADAL" clId="{DBA3AD92-5D80-4B55-9938-D1642B73B5C0}" dt="2024-09-13T00:33:01.982" v="1603" actId="1035"/>
          <ac:spMkLst>
            <pc:docMk/>
            <pc:sldMk cId="825503615" sldId="2147471730"/>
            <ac:spMk id="4" creationId="{E3FDAD9A-A06A-5452-AC9C-A76FA8FA354D}"/>
          </ac:spMkLst>
        </pc:spChg>
        <pc:spChg chg="mod ord">
          <ac:chgData name="Connor Xu" userId="a2fa5610-7f85-41f8-9630-afc02cec4fa9" providerId="ADAL" clId="{DBA3AD92-5D80-4B55-9938-D1642B73B5C0}" dt="2024-09-13T00:29:33.146" v="1434"/>
          <ac:spMkLst>
            <pc:docMk/>
            <pc:sldMk cId="825503615" sldId="2147471730"/>
            <ac:spMk id="6" creationId="{E1296918-AD6D-C9E2-9E46-991182C85F7C}"/>
          </ac:spMkLst>
        </pc:spChg>
        <pc:spChg chg="mod">
          <ac:chgData name="Connor Xu" userId="a2fa5610-7f85-41f8-9630-afc02cec4fa9" providerId="ADAL" clId="{DBA3AD92-5D80-4B55-9938-D1642B73B5C0}" dt="2024-09-13T00:33:01.982" v="1603" actId="1035"/>
          <ac:spMkLst>
            <pc:docMk/>
            <pc:sldMk cId="825503615" sldId="2147471730"/>
            <ac:spMk id="7" creationId="{39E79785-8D7E-56E8-B788-31D66BDCF50F}"/>
          </ac:spMkLst>
        </pc:spChg>
        <pc:spChg chg="mod">
          <ac:chgData name="Connor Xu" userId="a2fa5610-7f85-41f8-9630-afc02cec4fa9" providerId="ADAL" clId="{DBA3AD92-5D80-4B55-9938-D1642B73B5C0}" dt="2024-09-13T00:33:01.982" v="1603" actId="1035"/>
          <ac:spMkLst>
            <pc:docMk/>
            <pc:sldMk cId="825503615" sldId="2147471730"/>
            <ac:spMk id="8" creationId="{AFB56AB2-0243-6285-E066-0CF0698CE95F}"/>
          </ac:spMkLst>
        </pc:spChg>
        <pc:spChg chg="mod">
          <ac:chgData name="Connor Xu" userId="a2fa5610-7f85-41f8-9630-afc02cec4fa9" providerId="ADAL" clId="{DBA3AD92-5D80-4B55-9938-D1642B73B5C0}" dt="2024-09-13T00:33:01.982" v="1603" actId="1035"/>
          <ac:spMkLst>
            <pc:docMk/>
            <pc:sldMk cId="825503615" sldId="2147471730"/>
            <ac:spMk id="9" creationId="{914A0820-BC18-B429-164F-182B24F51599}"/>
          </ac:spMkLst>
        </pc:spChg>
        <pc:spChg chg="add del mod modVis">
          <ac:chgData name="Connor Xu" userId="a2fa5610-7f85-41f8-9630-afc02cec4fa9" providerId="ADAL" clId="{DBA3AD92-5D80-4B55-9938-D1642B73B5C0}" dt="2024-09-12T23:58:50.243" v="122"/>
          <ac:spMkLst>
            <pc:docMk/>
            <pc:sldMk cId="825503615" sldId="2147471730"/>
            <ac:spMk id="11" creationId="{C8BBF5DE-B635-107F-4B94-9826727D19E8}"/>
          </ac:spMkLst>
        </pc:spChg>
        <pc:spChg chg="add del mod modVis">
          <ac:chgData name="Connor Xu" userId="a2fa5610-7f85-41f8-9630-afc02cec4fa9" providerId="ADAL" clId="{DBA3AD92-5D80-4B55-9938-D1642B73B5C0}" dt="2024-09-12T23:59:16.164" v="174"/>
          <ac:spMkLst>
            <pc:docMk/>
            <pc:sldMk cId="825503615" sldId="2147471730"/>
            <ac:spMk id="12" creationId="{6463670B-6831-3F26-83FD-C71C6881B184}"/>
          </ac:spMkLst>
        </pc:spChg>
        <pc:spChg chg="add del mod modVis">
          <ac:chgData name="Connor Xu" userId="a2fa5610-7f85-41f8-9630-afc02cec4fa9" providerId="ADAL" clId="{DBA3AD92-5D80-4B55-9938-D1642B73B5C0}" dt="2024-09-12T23:59:17.084" v="205"/>
          <ac:spMkLst>
            <pc:docMk/>
            <pc:sldMk cId="825503615" sldId="2147471730"/>
            <ac:spMk id="13" creationId="{8500B37B-4611-0BF1-F5B2-6E36CB16C1A0}"/>
          </ac:spMkLst>
        </pc:spChg>
        <pc:spChg chg="add del mod modVis">
          <ac:chgData name="Connor Xu" userId="a2fa5610-7f85-41f8-9630-afc02cec4fa9" providerId="ADAL" clId="{DBA3AD92-5D80-4B55-9938-D1642B73B5C0}" dt="2024-09-12T23:59:18.079" v="236"/>
          <ac:spMkLst>
            <pc:docMk/>
            <pc:sldMk cId="825503615" sldId="2147471730"/>
            <ac:spMk id="14" creationId="{705C6494-01C2-0B7C-3409-22A3DF59B079}"/>
          </ac:spMkLst>
        </pc:spChg>
        <pc:spChg chg="add del mod modVis">
          <ac:chgData name="Connor Xu" userId="a2fa5610-7f85-41f8-9630-afc02cec4fa9" providerId="ADAL" clId="{DBA3AD92-5D80-4B55-9938-D1642B73B5C0}" dt="2024-09-12T23:59:22.364" v="277"/>
          <ac:spMkLst>
            <pc:docMk/>
            <pc:sldMk cId="825503615" sldId="2147471730"/>
            <ac:spMk id="15" creationId="{89824227-BB0F-1BEF-52F8-1DE791C4E286}"/>
          </ac:spMkLst>
        </pc:spChg>
        <pc:spChg chg="add del mod modVis">
          <ac:chgData name="Connor Xu" userId="a2fa5610-7f85-41f8-9630-afc02cec4fa9" providerId="ADAL" clId="{DBA3AD92-5D80-4B55-9938-D1642B73B5C0}" dt="2024-09-12T23:59:24.584" v="329"/>
          <ac:spMkLst>
            <pc:docMk/>
            <pc:sldMk cId="825503615" sldId="2147471730"/>
            <ac:spMk id="16" creationId="{D7356B74-36A2-D6F0-8DBB-F2D75F1CFBEC}"/>
          </ac:spMkLst>
        </pc:spChg>
        <pc:spChg chg="add mod">
          <ac:chgData name="Connor Xu" userId="a2fa5610-7f85-41f8-9630-afc02cec4fa9" providerId="ADAL" clId="{DBA3AD92-5D80-4B55-9938-D1642B73B5C0}" dt="2024-09-13T00:34:01.352" v="1632" actId="20577"/>
          <ac:spMkLst>
            <pc:docMk/>
            <pc:sldMk cId="825503615" sldId="2147471730"/>
            <ac:spMk id="19" creationId="{02BB176B-8255-2661-B555-82EC2B34FEEA}"/>
          </ac:spMkLst>
        </pc:spChg>
        <pc:spChg chg="mod">
          <ac:chgData name="Connor Xu" userId="a2fa5610-7f85-41f8-9630-afc02cec4fa9" providerId="ADAL" clId="{DBA3AD92-5D80-4B55-9938-D1642B73B5C0}" dt="2024-09-13T00:33:01.982" v="1603" actId="1035"/>
          <ac:spMkLst>
            <pc:docMk/>
            <pc:sldMk cId="825503615" sldId="2147471730"/>
            <ac:spMk id="23" creationId="{0704EE71-6AC4-5712-F617-9465813A6CE1}"/>
          </ac:spMkLst>
        </pc:spChg>
        <pc:spChg chg="mod">
          <ac:chgData name="Connor Xu" userId="a2fa5610-7f85-41f8-9630-afc02cec4fa9" providerId="ADAL" clId="{DBA3AD92-5D80-4B55-9938-D1642B73B5C0}" dt="2024-09-13T00:33:01.982" v="1603" actId="1035"/>
          <ac:spMkLst>
            <pc:docMk/>
            <pc:sldMk cId="825503615" sldId="2147471730"/>
            <ac:spMk id="24" creationId="{D6F70A59-5C08-2F9D-E93D-24C617E1D6E7}"/>
          </ac:spMkLst>
        </pc:spChg>
        <pc:spChg chg="mod">
          <ac:chgData name="Connor Xu" userId="a2fa5610-7f85-41f8-9630-afc02cec4fa9" providerId="ADAL" clId="{DBA3AD92-5D80-4B55-9938-D1642B73B5C0}" dt="2024-09-13T00:33:01.982" v="1603" actId="1035"/>
          <ac:spMkLst>
            <pc:docMk/>
            <pc:sldMk cId="825503615" sldId="2147471730"/>
            <ac:spMk id="25" creationId="{A00A3C24-ACEB-4D04-3E0C-BC591089DF6D}"/>
          </ac:spMkLst>
        </pc:spChg>
        <pc:spChg chg="del mod">
          <ac:chgData name="Connor Xu" userId="a2fa5610-7f85-41f8-9630-afc02cec4fa9" providerId="ADAL" clId="{DBA3AD92-5D80-4B55-9938-D1642B73B5C0}" dt="2024-09-13T00:27:32.897" v="1403" actId="478"/>
          <ac:spMkLst>
            <pc:docMk/>
            <pc:sldMk cId="825503615" sldId="2147471730"/>
            <ac:spMk id="27" creationId="{F6F1DC71-5700-BE1F-240E-8AD3A4B17FDB}"/>
          </ac:spMkLst>
        </pc:spChg>
        <pc:spChg chg="mod">
          <ac:chgData name="Connor Xu" userId="a2fa5610-7f85-41f8-9630-afc02cec4fa9" providerId="ADAL" clId="{DBA3AD92-5D80-4B55-9938-D1642B73B5C0}" dt="2024-09-13T00:33:01.982" v="1603" actId="1035"/>
          <ac:spMkLst>
            <pc:docMk/>
            <pc:sldMk cId="825503615" sldId="2147471730"/>
            <ac:spMk id="29" creationId="{EEA34068-0CB3-783B-D34D-748ABB6A4DC0}"/>
          </ac:spMkLst>
        </pc:spChg>
        <pc:spChg chg="del mod">
          <ac:chgData name="Connor Xu" userId="a2fa5610-7f85-41f8-9630-afc02cec4fa9" providerId="ADAL" clId="{DBA3AD92-5D80-4B55-9938-D1642B73B5C0}" dt="2024-09-13T00:30:40.014" v="1453" actId="478"/>
          <ac:spMkLst>
            <pc:docMk/>
            <pc:sldMk cId="825503615" sldId="2147471730"/>
            <ac:spMk id="30" creationId="{CED7BB1E-EF81-029F-CCD5-FDDAC493D5D0}"/>
          </ac:spMkLst>
        </pc:spChg>
        <pc:spChg chg="del mod">
          <ac:chgData name="Connor Xu" userId="a2fa5610-7f85-41f8-9630-afc02cec4fa9" providerId="ADAL" clId="{DBA3AD92-5D80-4B55-9938-D1642B73B5C0}" dt="2024-09-13T00:30:41.720" v="1454" actId="478"/>
          <ac:spMkLst>
            <pc:docMk/>
            <pc:sldMk cId="825503615" sldId="2147471730"/>
            <ac:spMk id="31" creationId="{804C2A33-C9C1-DE13-0330-051C1B850A0C}"/>
          </ac:spMkLst>
        </pc:spChg>
        <pc:spChg chg="mod topLvl">
          <ac:chgData name="Connor Xu" userId="a2fa5610-7f85-41f8-9630-afc02cec4fa9" providerId="ADAL" clId="{DBA3AD92-5D80-4B55-9938-D1642B73B5C0}" dt="2024-09-13T02:32:32.814" v="5251" actId="2711"/>
          <ac:spMkLst>
            <pc:docMk/>
            <pc:sldMk cId="825503615" sldId="2147471730"/>
            <ac:spMk id="32" creationId="{89A7D073-8D92-326D-B42E-0A25872A81E6}"/>
          </ac:spMkLst>
        </pc:spChg>
        <pc:spChg chg="mod topLvl">
          <ac:chgData name="Connor Xu" userId="a2fa5610-7f85-41f8-9630-afc02cec4fa9" providerId="ADAL" clId="{DBA3AD92-5D80-4B55-9938-D1642B73B5C0}" dt="2024-09-13T02:32:49.218" v="5254" actId="2711"/>
          <ac:spMkLst>
            <pc:docMk/>
            <pc:sldMk cId="825503615" sldId="2147471730"/>
            <ac:spMk id="34" creationId="{4922F213-5653-C8BF-860E-6953E15025E5}"/>
          </ac:spMkLst>
        </pc:spChg>
        <pc:spChg chg="mod topLvl">
          <ac:chgData name="Connor Xu" userId="a2fa5610-7f85-41f8-9630-afc02cec4fa9" providerId="ADAL" clId="{DBA3AD92-5D80-4B55-9938-D1642B73B5C0}" dt="2024-09-13T02:32:32.814" v="5251" actId="2711"/>
          <ac:spMkLst>
            <pc:docMk/>
            <pc:sldMk cId="825503615" sldId="2147471730"/>
            <ac:spMk id="35" creationId="{34C42425-7561-62F5-0716-834129C55E35}"/>
          </ac:spMkLst>
        </pc:spChg>
        <pc:spChg chg="mod topLvl">
          <ac:chgData name="Connor Xu" userId="a2fa5610-7f85-41f8-9630-afc02cec4fa9" providerId="ADAL" clId="{DBA3AD92-5D80-4B55-9938-D1642B73B5C0}" dt="2024-09-13T02:32:45.852" v="5253" actId="2711"/>
          <ac:spMkLst>
            <pc:docMk/>
            <pc:sldMk cId="825503615" sldId="2147471730"/>
            <ac:spMk id="36" creationId="{4906031E-3D1A-1C9A-2C0C-A1D53A045590}"/>
          </ac:spMkLst>
        </pc:spChg>
        <pc:spChg chg="mod">
          <ac:chgData name="Connor Xu" userId="a2fa5610-7f85-41f8-9630-afc02cec4fa9" providerId="ADAL" clId="{DBA3AD92-5D80-4B55-9938-D1642B73B5C0}" dt="2024-09-13T00:33:01.982" v="1603" actId="1035"/>
          <ac:spMkLst>
            <pc:docMk/>
            <pc:sldMk cId="825503615" sldId="2147471730"/>
            <ac:spMk id="37" creationId="{BFEE6266-3ADD-34FF-4E15-EF2B5379CF0E}"/>
          </ac:spMkLst>
        </pc:spChg>
        <pc:spChg chg="mod">
          <ac:chgData name="Connor Xu" userId="a2fa5610-7f85-41f8-9630-afc02cec4fa9" providerId="ADAL" clId="{DBA3AD92-5D80-4B55-9938-D1642B73B5C0}" dt="2024-09-13T00:33:01.982" v="1603" actId="1035"/>
          <ac:spMkLst>
            <pc:docMk/>
            <pc:sldMk cId="825503615" sldId="2147471730"/>
            <ac:spMk id="38" creationId="{ED894B50-C744-8323-8AB2-8C1FDEAF7894}"/>
          </ac:spMkLst>
        </pc:spChg>
        <pc:spChg chg="mod topLvl">
          <ac:chgData name="Connor Xu" userId="a2fa5610-7f85-41f8-9630-afc02cec4fa9" providerId="ADAL" clId="{DBA3AD92-5D80-4B55-9938-D1642B73B5C0}" dt="2024-09-13T02:32:32.814" v="5251" actId="2711"/>
          <ac:spMkLst>
            <pc:docMk/>
            <pc:sldMk cId="825503615" sldId="2147471730"/>
            <ac:spMk id="39" creationId="{53DF164F-9FF2-43BB-1907-0AC45794D31D}"/>
          </ac:spMkLst>
        </pc:spChg>
        <pc:spChg chg="mod topLvl">
          <ac:chgData name="Connor Xu" userId="a2fa5610-7f85-41f8-9630-afc02cec4fa9" providerId="ADAL" clId="{DBA3AD92-5D80-4B55-9938-D1642B73B5C0}" dt="2024-09-13T02:32:39.981" v="5252" actId="2711"/>
          <ac:spMkLst>
            <pc:docMk/>
            <pc:sldMk cId="825503615" sldId="2147471730"/>
            <ac:spMk id="40" creationId="{F5161DDF-2327-DB0F-6B5E-BC54A9FDAD4D}"/>
          </ac:spMkLst>
        </pc:spChg>
        <pc:spChg chg="mod ord topLvl">
          <ac:chgData name="Connor Xu" userId="a2fa5610-7f85-41f8-9630-afc02cec4fa9" providerId="ADAL" clId="{DBA3AD92-5D80-4B55-9938-D1642B73B5C0}" dt="2024-09-13T00:33:01.982" v="1603" actId="1035"/>
          <ac:spMkLst>
            <pc:docMk/>
            <pc:sldMk cId="825503615" sldId="2147471730"/>
            <ac:spMk id="43" creationId="{E4BBEB7A-B70E-C2FB-D323-11ECD914BD2B}"/>
          </ac:spMkLst>
        </pc:spChg>
        <pc:spChg chg="mod topLvl">
          <ac:chgData name="Connor Xu" userId="a2fa5610-7f85-41f8-9630-afc02cec4fa9" providerId="ADAL" clId="{DBA3AD92-5D80-4B55-9938-D1642B73B5C0}" dt="2024-09-13T00:33:01.982" v="1603" actId="1035"/>
          <ac:spMkLst>
            <pc:docMk/>
            <pc:sldMk cId="825503615" sldId="2147471730"/>
            <ac:spMk id="44" creationId="{9C43858B-5A97-3C3D-B6F8-AC63228C66E1}"/>
          </ac:spMkLst>
        </pc:spChg>
        <pc:spChg chg="mod topLvl">
          <ac:chgData name="Connor Xu" userId="a2fa5610-7f85-41f8-9630-afc02cec4fa9" providerId="ADAL" clId="{DBA3AD92-5D80-4B55-9938-D1642B73B5C0}" dt="2024-09-13T00:33:01.982" v="1603" actId="1035"/>
          <ac:spMkLst>
            <pc:docMk/>
            <pc:sldMk cId="825503615" sldId="2147471730"/>
            <ac:spMk id="45" creationId="{47048286-AD81-DDD8-D2AA-100E287CDACB}"/>
          </ac:spMkLst>
        </pc:spChg>
        <pc:spChg chg="mod ord topLvl">
          <ac:chgData name="Connor Xu" userId="a2fa5610-7f85-41f8-9630-afc02cec4fa9" providerId="ADAL" clId="{DBA3AD92-5D80-4B55-9938-D1642B73B5C0}" dt="2024-09-13T00:33:01.982" v="1603" actId="1035"/>
          <ac:spMkLst>
            <pc:docMk/>
            <pc:sldMk cId="825503615" sldId="2147471730"/>
            <ac:spMk id="46" creationId="{F35C4228-DD9B-96EE-0B02-E15C982AA04B}"/>
          </ac:spMkLst>
        </pc:spChg>
        <pc:spChg chg="mod topLvl">
          <ac:chgData name="Connor Xu" userId="a2fa5610-7f85-41f8-9630-afc02cec4fa9" providerId="ADAL" clId="{DBA3AD92-5D80-4B55-9938-D1642B73B5C0}" dt="2024-09-13T00:33:01.982" v="1603" actId="1035"/>
          <ac:spMkLst>
            <pc:docMk/>
            <pc:sldMk cId="825503615" sldId="2147471730"/>
            <ac:spMk id="47" creationId="{3C3FD4E8-DA51-BDCC-9597-037FA2A24F08}"/>
          </ac:spMkLst>
        </pc:spChg>
        <pc:spChg chg="mod topLvl">
          <ac:chgData name="Connor Xu" userId="a2fa5610-7f85-41f8-9630-afc02cec4fa9" providerId="ADAL" clId="{DBA3AD92-5D80-4B55-9938-D1642B73B5C0}" dt="2024-09-13T00:33:01.982" v="1603" actId="1035"/>
          <ac:spMkLst>
            <pc:docMk/>
            <pc:sldMk cId="825503615" sldId="2147471730"/>
            <ac:spMk id="48" creationId="{9C23D14E-F3B0-90AA-AE27-394933390466}"/>
          </ac:spMkLst>
        </pc:spChg>
        <pc:grpChg chg="mod topLvl">
          <ac:chgData name="Connor Xu" userId="a2fa5610-7f85-41f8-9630-afc02cec4fa9" providerId="ADAL" clId="{DBA3AD92-5D80-4B55-9938-D1642B73B5C0}" dt="2024-09-13T00:33:01.982" v="1603" actId="1035"/>
          <ac:grpSpMkLst>
            <pc:docMk/>
            <pc:sldMk cId="825503615" sldId="2147471730"/>
            <ac:grpSpMk id="2" creationId="{1AAF0710-D2E7-C6C8-1445-17E572AA04F6}"/>
          </ac:grpSpMkLst>
        </pc:grpChg>
        <pc:grpChg chg="del mod">
          <ac:chgData name="Connor Xu" userId="a2fa5610-7f85-41f8-9630-afc02cec4fa9" providerId="ADAL" clId="{DBA3AD92-5D80-4B55-9938-D1642B73B5C0}" dt="2024-09-13T00:24:18.488" v="1376" actId="165"/>
          <ac:grpSpMkLst>
            <pc:docMk/>
            <pc:sldMk cId="825503615" sldId="2147471730"/>
            <ac:grpSpMk id="10" creationId="{57440994-C176-5B18-EEFF-603A90DF48CC}"/>
          </ac:grpSpMkLst>
        </pc:grpChg>
        <pc:grpChg chg="add del mod">
          <ac:chgData name="Connor Xu" userId="a2fa5610-7f85-41f8-9630-afc02cec4fa9" providerId="ADAL" clId="{DBA3AD92-5D80-4B55-9938-D1642B73B5C0}" dt="2024-09-13T00:29:35.823" v="1445" actId="165"/>
          <ac:grpSpMkLst>
            <pc:docMk/>
            <pc:sldMk cId="825503615" sldId="2147471730"/>
            <ac:grpSpMk id="17" creationId="{B2933997-952A-2FBE-6C43-93CBD6264235}"/>
          </ac:grpSpMkLst>
        </pc:grpChg>
        <pc:grpChg chg="add del mod">
          <ac:chgData name="Connor Xu" userId="a2fa5610-7f85-41f8-9630-afc02cec4fa9" providerId="ADAL" clId="{DBA3AD92-5D80-4B55-9938-D1642B73B5C0}" dt="2024-09-13T00:29:39.534" v="1446" actId="165"/>
          <ac:grpSpMkLst>
            <pc:docMk/>
            <pc:sldMk cId="825503615" sldId="2147471730"/>
            <ac:grpSpMk id="18" creationId="{3D1F6A8D-DE57-243E-9305-54A3627C2F67}"/>
          </ac:grpSpMkLst>
        </pc:grpChg>
        <pc:grpChg chg="add del mod">
          <ac:chgData name="Connor Xu" userId="a2fa5610-7f85-41f8-9630-afc02cec4fa9" providerId="ADAL" clId="{DBA3AD92-5D80-4B55-9938-D1642B73B5C0}" dt="2024-09-13T00:31:49.590" v="1570" actId="165"/>
          <ac:grpSpMkLst>
            <pc:docMk/>
            <pc:sldMk cId="825503615" sldId="2147471730"/>
            <ac:grpSpMk id="20" creationId="{5649FE70-FED0-EFA7-8C5E-064DB0849454}"/>
          </ac:grpSpMkLst>
        </pc:grpChg>
        <pc:grpChg chg="del mod topLvl">
          <ac:chgData name="Connor Xu" userId="a2fa5610-7f85-41f8-9630-afc02cec4fa9" providerId="ADAL" clId="{DBA3AD92-5D80-4B55-9938-D1642B73B5C0}" dt="2024-09-13T00:32:33.822" v="1590" actId="165"/>
          <ac:grpSpMkLst>
            <pc:docMk/>
            <pc:sldMk cId="825503615" sldId="2147471730"/>
            <ac:grpSpMk id="21" creationId="{8EA026CF-593C-A629-B2A7-2A38FEC459A1}"/>
          </ac:grpSpMkLst>
        </pc:grpChg>
        <pc:grpChg chg="mod topLvl">
          <ac:chgData name="Connor Xu" userId="a2fa5610-7f85-41f8-9630-afc02cec4fa9" providerId="ADAL" clId="{DBA3AD92-5D80-4B55-9938-D1642B73B5C0}" dt="2024-09-13T00:33:01.982" v="1603" actId="1035"/>
          <ac:grpSpMkLst>
            <pc:docMk/>
            <pc:sldMk cId="825503615" sldId="2147471730"/>
            <ac:grpSpMk id="22" creationId="{9434D0D8-A858-B36E-9E45-E54EFF9914AF}"/>
          </ac:grpSpMkLst>
        </pc:grpChg>
        <pc:grpChg chg="del mod topLvl">
          <ac:chgData name="Connor Xu" userId="a2fa5610-7f85-41f8-9630-afc02cec4fa9" providerId="ADAL" clId="{DBA3AD92-5D80-4B55-9938-D1642B73B5C0}" dt="2024-09-13T00:32:33.822" v="1590" actId="165"/>
          <ac:grpSpMkLst>
            <pc:docMk/>
            <pc:sldMk cId="825503615" sldId="2147471730"/>
            <ac:grpSpMk id="26" creationId="{F0F13AE2-41CF-7708-2C0A-05E51A7D84AC}"/>
          </ac:grpSpMkLst>
        </pc:grpChg>
        <pc:grpChg chg="del mod topLvl">
          <ac:chgData name="Connor Xu" userId="a2fa5610-7f85-41f8-9630-afc02cec4fa9" providerId="ADAL" clId="{DBA3AD92-5D80-4B55-9938-D1642B73B5C0}" dt="2024-09-13T00:32:33.822" v="1590" actId="165"/>
          <ac:grpSpMkLst>
            <pc:docMk/>
            <pc:sldMk cId="825503615" sldId="2147471730"/>
            <ac:grpSpMk id="28" creationId="{1ECC44A1-4345-07A0-D409-B2103EC85913}"/>
          </ac:grpSpMkLst>
        </pc:grpChg>
        <pc:grpChg chg="mod topLvl">
          <ac:chgData name="Connor Xu" userId="a2fa5610-7f85-41f8-9630-afc02cec4fa9" providerId="ADAL" clId="{DBA3AD92-5D80-4B55-9938-D1642B73B5C0}" dt="2024-09-13T00:33:01.982" v="1603" actId="1035"/>
          <ac:grpSpMkLst>
            <pc:docMk/>
            <pc:sldMk cId="825503615" sldId="2147471730"/>
            <ac:grpSpMk id="33" creationId="{49B164B3-1D0F-F092-974E-A4E1614E3E7B}"/>
          </ac:grpSpMkLst>
        </pc:grpChg>
        <pc:grpChg chg="del mod topLvl">
          <ac:chgData name="Connor Xu" userId="a2fa5610-7f85-41f8-9630-afc02cec4fa9" providerId="ADAL" clId="{DBA3AD92-5D80-4B55-9938-D1642B73B5C0}" dt="2024-09-13T00:24:27.444" v="1377" actId="165"/>
          <ac:grpSpMkLst>
            <pc:docMk/>
            <pc:sldMk cId="825503615" sldId="2147471730"/>
            <ac:grpSpMk id="60" creationId="{2982EC5E-6597-1D97-3258-37B26C357946}"/>
          </ac:grpSpMkLst>
        </pc:grpChg>
        <pc:graphicFrameChg chg="mod">
          <ac:chgData name="Connor Xu" userId="a2fa5610-7f85-41f8-9630-afc02cec4fa9" providerId="ADAL" clId="{DBA3AD92-5D80-4B55-9938-D1642B73B5C0}" dt="2024-09-13T00:29:33.146" v="1444"/>
          <ac:graphicFrameMkLst>
            <pc:docMk/>
            <pc:sldMk cId="825503615" sldId="2147471730"/>
            <ac:graphicFrameMk id="5" creationId="{DCEE8F0D-271D-A3F4-ABA4-55804FF8C507}"/>
          </ac:graphicFrameMkLst>
        </pc:graphicFrameChg>
        <pc:cxnChg chg="mod ord topLvl">
          <ac:chgData name="Connor Xu" userId="a2fa5610-7f85-41f8-9630-afc02cec4fa9" providerId="ADAL" clId="{DBA3AD92-5D80-4B55-9938-D1642B73B5C0}" dt="2024-09-13T00:33:01.982" v="1603" actId="1035"/>
          <ac:cxnSpMkLst>
            <pc:docMk/>
            <pc:sldMk cId="825503615" sldId="2147471730"/>
            <ac:cxnSpMk id="54" creationId="{0CEAF42F-2C5C-D3FB-1984-565252F2AF23}"/>
          </ac:cxnSpMkLst>
        </pc:cxnChg>
        <pc:cxnChg chg="mod topLvl">
          <ac:chgData name="Connor Xu" userId="a2fa5610-7f85-41f8-9630-afc02cec4fa9" providerId="ADAL" clId="{DBA3AD92-5D80-4B55-9938-D1642B73B5C0}" dt="2024-09-13T00:33:01.982" v="1603" actId="1035"/>
          <ac:cxnSpMkLst>
            <pc:docMk/>
            <pc:sldMk cId="825503615" sldId="2147471730"/>
            <ac:cxnSpMk id="55" creationId="{67388F11-638C-E9F7-03C0-CD9EF14BF0C1}"/>
          </ac:cxnSpMkLst>
        </pc:cxnChg>
        <pc:cxnChg chg="mod topLvl">
          <ac:chgData name="Connor Xu" userId="a2fa5610-7f85-41f8-9630-afc02cec4fa9" providerId="ADAL" clId="{DBA3AD92-5D80-4B55-9938-D1642B73B5C0}" dt="2024-09-13T00:33:01.982" v="1603" actId="1035"/>
          <ac:cxnSpMkLst>
            <pc:docMk/>
            <pc:sldMk cId="825503615" sldId="2147471730"/>
            <ac:cxnSpMk id="56" creationId="{ECCE297F-DB78-B2A2-3AD0-ADF43083D6B1}"/>
          </ac:cxnSpMkLst>
        </pc:cxnChg>
      </pc:sldChg>
      <pc:sldChg chg="del">
        <pc:chgData name="Connor Xu" userId="a2fa5610-7f85-41f8-9630-afc02cec4fa9" providerId="ADAL" clId="{DBA3AD92-5D80-4B55-9938-D1642B73B5C0}" dt="2024-09-13T00:57:03.322" v="3428" actId="47"/>
        <pc:sldMkLst>
          <pc:docMk/>
          <pc:sldMk cId="3245671790" sldId="2147471731"/>
        </pc:sldMkLst>
      </pc:sldChg>
      <pc:sldChg chg="add del">
        <pc:chgData name="Connor Xu" userId="a2fa5610-7f85-41f8-9630-afc02cec4fa9" providerId="ADAL" clId="{DBA3AD92-5D80-4B55-9938-D1642B73B5C0}" dt="2024-09-13T00:33:31.848" v="1618" actId="47"/>
        <pc:sldMkLst>
          <pc:docMk/>
          <pc:sldMk cId="3430100456" sldId="2147471733"/>
        </pc:sldMkLst>
      </pc:sldChg>
      <pc:sldChg chg="addSp delSp modSp add mod">
        <pc:chgData name="Connor Xu" userId="a2fa5610-7f85-41f8-9630-afc02cec4fa9" providerId="ADAL" clId="{DBA3AD92-5D80-4B55-9938-D1642B73B5C0}" dt="2024-09-13T00:45:26.836" v="2741" actId="1035"/>
        <pc:sldMkLst>
          <pc:docMk/>
          <pc:sldMk cId="4210671229" sldId="2147471734"/>
        </pc:sldMkLst>
        <pc:spChg chg="mod">
          <ac:chgData name="Connor Xu" userId="a2fa5610-7f85-41f8-9630-afc02cec4fa9" providerId="ADAL" clId="{DBA3AD92-5D80-4B55-9938-D1642B73B5C0}" dt="2024-09-13T00:38:24.088" v="2132" actId="948"/>
          <ac:spMkLst>
            <pc:docMk/>
            <pc:sldMk cId="4210671229" sldId="2147471734"/>
            <ac:spMk id="3" creationId="{70A675F7-CAF4-83EC-53BD-56B259073B05}"/>
          </ac:spMkLst>
        </pc:spChg>
        <pc:spChg chg="mod">
          <ac:chgData name="Connor Xu" userId="a2fa5610-7f85-41f8-9630-afc02cec4fa9" providerId="ADAL" clId="{DBA3AD92-5D80-4B55-9938-D1642B73B5C0}" dt="2024-09-13T00:45:21.684" v="2733" actId="20577"/>
          <ac:spMkLst>
            <pc:docMk/>
            <pc:sldMk cId="4210671229" sldId="2147471734"/>
            <ac:spMk id="6" creationId="{E1296918-AD6D-C9E2-9E46-991182C85F7C}"/>
          </ac:spMkLst>
        </pc:spChg>
        <pc:spChg chg="add mod">
          <ac:chgData name="Connor Xu" userId="a2fa5610-7f85-41f8-9630-afc02cec4fa9" providerId="ADAL" clId="{DBA3AD92-5D80-4B55-9938-D1642B73B5C0}" dt="2024-09-13T00:45:26.836" v="2741" actId="1035"/>
          <ac:spMkLst>
            <pc:docMk/>
            <pc:sldMk cId="4210671229" sldId="2147471734"/>
            <ac:spMk id="11" creationId="{6CF41761-726E-3351-A38D-9340058AC711}"/>
          </ac:spMkLst>
        </pc:spChg>
        <pc:spChg chg="add mod">
          <ac:chgData name="Connor Xu" userId="a2fa5610-7f85-41f8-9630-afc02cec4fa9" providerId="ADAL" clId="{DBA3AD92-5D80-4B55-9938-D1642B73B5C0}" dt="2024-09-13T00:45:26.836" v="2741" actId="1035"/>
          <ac:spMkLst>
            <pc:docMk/>
            <pc:sldMk cId="4210671229" sldId="2147471734"/>
            <ac:spMk id="12" creationId="{24639050-CE56-C459-53A2-599C88235F67}"/>
          </ac:spMkLst>
        </pc:spChg>
        <pc:spChg chg="add mod">
          <ac:chgData name="Connor Xu" userId="a2fa5610-7f85-41f8-9630-afc02cec4fa9" providerId="ADAL" clId="{DBA3AD92-5D80-4B55-9938-D1642B73B5C0}" dt="2024-09-13T00:45:26.836" v="2741" actId="1035"/>
          <ac:spMkLst>
            <pc:docMk/>
            <pc:sldMk cId="4210671229" sldId="2147471734"/>
            <ac:spMk id="13" creationId="{E51DC93B-C8A4-40E9-8838-EC13777E3942}"/>
          </ac:spMkLst>
        </pc:spChg>
        <pc:spChg chg="add mod">
          <ac:chgData name="Connor Xu" userId="a2fa5610-7f85-41f8-9630-afc02cec4fa9" providerId="ADAL" clId="{DBA3AD92-5D80-4B55-9938-D1642B73B5C0}" dt="2024-09-13T00:45:26.836" v="2741" actId="1035"/>
          <ac:spMkLst>
            <pc:docMk/>
            <pc:sldMk cId="4210671229" sldId="2147471734"/>
            <ac:spMk id="14" creationId="{9B16708E-AFF1-10B4-1025-62412E5FF1D4}"/>
          </ac:spMkLst>
        </pc:spChg>
        <pc:spChg chg="add mod">
          <ac:chgData name="Connor Xu" userId="a2fa5610-7f85-41f8-9630-afc02cec4fa9" providerId="ADAL" clId="{DBA3AD92-5D80-4B55-9938-D1642B73B5C0}" dt="2024-09-13T00:45:26.836" v="2741" actId="1035"/>
          <ac:spMkLst>
            <pc:docMk/>
            <pc:sldMk cId="4210671229" sldId="2147471734"/>
            <ac:spMk id="15" creationId="{CB761251-332C-DCC3-0038-D9DBB3A6BE2F}"/>
          </ac:spMkLst>
        </pc:spChg>
        <pc:spChg chg="add mod">
          <ac:chgData name="Connor Xu" userId="a2fa5610-7f85-41f8-9630-afc02cec4fa9" providerId="ADAL" clId="{DBA3AD92-5D80-4B55-9938-D1642B73B5C0}" dt="2024-09-13T00:45:26.836" v="2741" actId="1035"/>
          <ac:spMkLst>
            <pc:docMk/>
            <pc:sldMk cId="4210671229" sldId="2147471734"/>
            <ac:spMk id="16" creationId="{A63029EC-539F-421E-11B9-C159749E0ADC}"/>
          </ac:spMkLst>
        </pc:spChg>
        <pc:spChg chg="add del mod modVis">
          <ac:chgData name="Connor Xu" userId="a2fa5610-7f85-41f8-9630-afc02cec4fa9" providerId="ADAL" clId="{DBA3AD92-5D80-4B55-9938-D1642B73B5C0}" dt="2024-09-13T00:38:09.826" v="1946"/>
          <ac:spMkLst>
            <pc:docMk/>
            <pc:sldMk cId="4210671229" sldId="2147471734"/>
            <ac:spMk id="17" creationId="{1DC0CAD7-57FD-6AEC-EE76-9B796AAD05B2}"/>
          </ac:spMkLst>
        </pc:spChg>
        <pc:spChg chg="add del mod modVis">
          <ac:chgData name="Connor Xu" userId="a2fa5610-7f85-41f8-9630-afc02cec4fa9" providerId="ADAL" clId="{DBA3AD92-5D80-4B55-9938-D1642B73B5C0}" dt="2024-09-13T00:38:14.359" v="1978"/>
          <ac:spMkLst>
            <pc:docMk/>
            <pc:sldMk cId="4210671229" sldId="2147471734"/>
            <ac:spMk id="18" creationId="{C3FAC47F-D4F5-B140-62B6-783AB4B08F01}"/>
          </ac:spMkLst>
        </pc:spChg>
        <pc:spChg chg="add del mod modVis">
          <ac:chgData name="Connor Xu" userId="a2fa5610-7f85-41f8-9630-afc02cec4fa9" providerId="ADAL" clId="{DBA3AD92-5D80-4B55-9938-D1642B73B5C0}" dt="2024-09-13T00:38:16.315" v="2016"/>
          <ac:spMkLst>
            <pc:docMk/>
            <pc:sldMk cId="4210671229" sldId="2147471734"/>
            <ac:spMk id="19" creationId="{A2E299EA-75C4-7D2A-C258-CC28BB52E499}"/>
          </ac:spMkLst>
        </pc:spChg>
        <pc:spChg chg="add del mod modVis">
          <ac:chgData name="Connor Xu" userId="a2fa5610-7f85-41f8-9630-afc02cec4fa9" providerId="ADAL" clId="{DBA3AD92-5D80-4B55-9938-D1642B73B5C0}" dt="2024-09-13T00:38:19.795" v="2072"/>
          <ac:spMkLst>
            <pc:docMk/>
            <pc:sldMk cId="4210671229" sldId="2147471734"/>
            <ac:spMk id="20" creationId="{7DF0B795-6696-9A0B-5939-29A7FD33FC40}"/>
          </ac:spMkLst>
        </pc:spChg>
        <pc:spChg chg="add del mod modVis">
          <ac:chgData name="Connor Xu" userId="a2fa5610-7f85-41f8-9630-afc02cec4fa9" providerId="ADAL" clId="{DBA3AD92-5D80-4B55-9938-D1642B73B5C0}" dt="2024-09-13T00:38:22.485" v="2117"/>
          <ac:spMkLst>
            <pc:docMk/>
            <pc:sldMk cId="4210671229" sldId="2147471734"/>
            <ac:spMk id="21" creationId="{5A0147FA-1F96-4DC4-A0FB-D62943124FF3}"/>
          </ac:spMkLst>
        </pc:spChg>
        <pc:spChg chg="add del mod modVis">
          <ac:chgData name="Connor Xu" userId="a2fa5610-7f85-41f8-9630-afc02cec4fa9" providerId="ADAL" clId="{DBA3AD92-5D80-4B55-9938-D1642B73B5C0}" dt="2024-09-13T00:38:24.103" v="2153"/>
          <ac:spMkLst>
            <pc:docMk/>
            <pc:sldMk cId="4210671229" sldId="2147471734"/>
            <ac:spMk id="26" creationId="{91B064FB-C476-3ECA-C8F8-AB3BCF210FF9}"/>
          </ac:spMkLst>
        </pc:spChg>
        <pc:spChg chg="del">
          <ac:chgData name="Connor Xu" userId="a2fa5610-7f85-41f8-9630-afc02cec4fa9" providerId="ADAL" clId="{DBA3AD92-5D80-4B55-9938-D1642B73B5C0}" dt="2024-09-13T00:33:46.278" v="1621" actId="478"/>
          <ac:spMkLst>
            <pc:docMk/>
            <pc:sldMk cId="4210671229" sldId="2147471734"/>
            <ac:spMk id="27" creationId="{F6F1DC71-5700-BE1F-240E-8AD3A4B17FDB}"/>
          </ac:spMkLst>
        </pc:spChg>
        <pc:spChg chg="add mod">
          <ac:chgData name="Connor Xu" userId="a2fa5610-7f85-41f8-9630-afc02cec4fa9" providerId="ADAL" clId="{DBA3AD92-5D80-4B55-9938-D1642B73B5C0}" dt="2024-09-13T00:45:26.836" v="2741" actId="1035"/>
          <ac:spMkLst>
            <pc:docMk/>
            <pc:sldMk cId="4210671229" sldId="2147471734"/>
            <ac:spMk id="28" creationId="{A3A5CE9D-3A16-BFF2-E713-736928FCEE73}"/>
          </ac:spMkLst>
        </pc:spChg>
        <pc:spChg chg="add mod">
          <ac:chgData name="Connor Xu" userId="a2fa5610-7f85-41f8-9630-afc02cec4fa9" providerId="ADAL" clId="{DBA3AD92-5D80-4B55-9938-D1642B73B5C0}" dt="2024-09-13T00:45:26.836" v="2741" actId="1035"/>
          <ac:spMkLst>
            <pc:docMk/>
            <pc:sldMk cId="4210671229" sldId="2147471734"/>
            <ac:spMk id="30" creationId="{04F0178A-2495-4678-5DE5-24166382A337}"/>
          </ac:spMkLst>
        </pc:spChg>
        <pc:spChg chg="add mod">
          <ac:chgData name="Connor Xu" userId="a2fa5610-7f85-41f8-9630-afc02cec4fa9" providerId="ADAL" clId="{DBA3AD92-5D80-4B55-9938-D1642B73B5C0}" dt="2024-09-13T00:45:26.836" v="2741" actId="1035"/>
          <ac:spMkLst>
            <pc:docMk/>
            <pc:sldMk cId="4210671229" sldId="2147471734"/>
            <ac:spMk id="31" creationId="{DCE756FD-40E7-EE31-6276-EB57B90919EF}"/>
          </ac:spMkLst>
        </pc:spChg>
        <pc:grpChg chg="del">
          <ac:chgData name="Connor Xu" userId="a2fa5610-7f85-41f8-9630-afc02cec4fa9" providerId="ADAL" clId="{DBA3AD92-5D80-4B55-9938-D1642B73B5C0}" dt="2024-09-13T00:33:44.834" v="1620" actId="478"/>
          <ac:grpSpMkLst>
            <pc:docMk/>
            <pc:sldMk cId="4210671229" sldId="2147471734"/>
            <ac:grpSpMk id="10" creationId="{57440994-C176-5B18-EEFF-603A90DF48CC}"/>
          </ac:grpSpMkLst>
        </pc:grpChg>
        <pc:graphicFrameChg chg="mod">
          <ac:chgData name="Connor Xu" userId="a2fa5610-7f85-41f8-9630-afc02cec4fa9" providerId="ADAL" clId="{DBA3AD92-5D80-4B55-9938-D1642B73B5C0}" dt="2024-09-13T00:38:24.103" v="2155"/>
          <ac:graphicFrameMkLst>
            <pc:docMk/>
            <pc:sldMk cId="4210671229" sldId="2147471734"/>
            <ac:graphicFrameMk id="5" creationId="{DCEE8F0D-271D-A3F4-ABA4-55804FF8C507}"/>
          </ac:graphicFrameMkLst>
        </pc:graphicFrameChg>
      </pc:sldChg>
      <pc:sldChg chg="addSp delSp modSp add mod">
        <pc:chgData name="Connor Xu" userId="a2fa5610-7f85-41f8-9630-afc02cec4fa9" providerId="ADAL" clId="{DBA3AD92-5D80-4B55-9938-D1642B73B5C0}" dt="2024-09-13T02:25:21" v="4652" actId="1036"/>
        <pc:sldMkLst>
          <pc:docMk/>
          <pc:sldMk cId="705608436" sldId="2147471735"/>
        </pc:sldMkLst>
        <pc:spChg chg="mod">
          <ac:chgData name="Connor Xu" userId="a2fa5610-7f85-41f8-9630-afc02cec4fa9" providerId="ADAL" clId="{DBA3AD92-5D80-4B55-9938-D1642B73B5C0}" dt="2024-09-13T01:00:54.897" v="3950" actId="20577"/>
          <ac:spMkLst>
            <pc:docMk/>
            <pc:sldMk cId="705608436" sldId="2147471735"/>
            <ac:spMk id="2" creationId="{B068FAC4-4E35-4912-1E95-4C38FB047EE7}"/>
          </ac:spMkLst>
        </pc:spChg>
        <pc:spChg chg="mod">
          <ac:chgData name="Connor Xu" userId="a2fa5610-7f85-41f8-9630-afc02cec4fa9" providerId="ADAL" clId="{DBA3AD92-5D80-4B55-9938-D1642B73B5C0}" dt="2024-09-13T01:00:49.805" v="3915" actId="948"/>
          <ac:spMkLst>
            <pc:docMk/>
            <pc:sldMk cId="705608436" sldId="2147471735"/>
            <ac:spMk id="3" creationId="{0B0E0EEE-AAF7-27D9-5453-D9B85663617E}"/>
          </ac:spMkLst>
        </pc:spChg>
        <pc:spChg chg="add del mod modVis">
          <ac:chgData name="Connor Xu" userId="a2fa5610-7f85-41f8-9630-afc02cec4fa9" providerId="ADAL" clId="{DBA3AD92-5D80-4B55-9938-D1642B73B5C0}" dt="2024-09-13T01:00:21.569" v="3631"/>
          <ac:spMkLst>
            <pc:docMk/>
            <pc:sldMk cId="705608436" sldId="2147471735"/>
            <ac:spMk id="5" creationId="{71B04639-FDDD-4B07-6802-87CC0BC2CC43}"/>
          </ac:spMkLst>
        </pc:spChg>
        <pc:spChg chg="add del mod modVis">
          <ac:chgData name="Connor Xu" userId="a2fa5610-7f85-41f8-9630-afc02cec4fa9" providerId="ADAL" clId="{DBA3AD92-5D80-4B55-9938-D1642B73B5C0}" dt="2024-09-13T01:00:23.594" v="3666"/>
          <ac:spMkLst>
            <pc:docMk/>
            <pc:sldMk cId="705608436" sldId="2147471735"/>
            <ac:spMk id="7" creationId="{448F44EB-A86D-8D45-043B-F45DA5BB243A}"/>
          </ac:spMkLst>
        </pc:spChg>
        <pc:spChg chg="add del mod modVis">
          <ac:chgData name="Connor Xu" userId="a2fa5610-7f85-41f8-9630-afc02cec4fa9" providerId="ADAL" clId="{DBA3AD92-5D80-4B55-9938-D1642B73B5C0}" dt="2024-09-13T01:00:25.096" v="3702"/>
          <ac:spMkLst>
            <pc:docMk/>
            <pc:sldMk cId="705608436" sldId="2147471735"/>
            <ac:spMk id="8" creationId="{901E3DB2-3034-659C-DE92-86E250D34A3D}"/>
          </ac:spMkLst>
        </pc:spChg>
        <pc:spChg chg="add del mod modVis">
          <ac:chgData name="Connor Xu" userId="a2fa5610-7f85-41f8-9630-afc02cec4fa9" providerId="ADAL" clId="{DBA3AD92-5D80-4B55-9938-D1642B73B5C0}" dt="2024-09-13T01:00:26.615" v="3733"/>
          <ac:spMkLst>
            <pc:docMk/>
            <pc:sldMk cId="705608436" sldId="2147471735"/>
            <ac:spMk id="9" creationId="{E9C29BF3-DFE4-9602-A397-F2F74297EF31}"/>
          </ac:spMkLst>
        </pc:spChg>
        <pc:spChg chg="add del mod modVis">
          <ac:chgData name="Connor Xu" userId="a2fa5610-7f85-41f8-9630-afc02cec4fa9" providerId="ADAL" clId="{DBA3AD92-5D80-4B55-9938-D1642B73B5C0}" dt="2024-09-13T01:00:38.228" v="3772"/>
          <ac:spMkLst>
            <pc:docMk/>
            <pc:sldMk cId="705608436" sldId="2147471735"/>
            <ac:spMk id="10" creationId="{26FA2314-6654-F58A-0B61-17291426AFDD}"/>
          </ac:spMkLst>
        </pc:spChg>
        <pc:spChg chg="add del mod modVis">
          <ac:chgData name="Connor Xu" userId="a2fa5610-7f85-41f8-9630-afc02cec4fa9" providerId="ADAL" clId="{DBA3AD92-5D80-4B55-9938-D1642B73B5C0}" dt="2024-09-13T01:00:40.302" v="3812"/>
          <ac:spMkLst>
            <pc:docMk/>
            <pc:sldMk cId="705608436" sldId="2147471735"/>
            <ac:spMk id="11" creationId="{9F9EAEBA-8465-AF6C-520B-5ECE96D01F2B}"/>
          </ac:spMkLst>
        </pc:spChg>
        <pc:spChg chg="add del mod modVis">
          <ac:chgData name="Connor Xu" userId="a2fa5610-7f85-41f8-9630-afc02cec4fa9" providerId="ADAL" clId="{DBA3AD92-5D80-4B55-9938-D1642B73B5C0}" dt="2024-09-13T01:00:41.435" v="3848"/>
          <ac:spMkLst>
            <pc:docMk/>
            <pc:sldMk cId="705608436" sldId="2147471735"/>
            <ac:spMk id="12" creationId="{92D1CF7F-2C2C-1AF9-59A6-7BE511A0EC21}"/>
          </ac:spMkLst>
        </pc:spChg>
        <pc:spChg chg="add del mod modVis">
          <ac:chgData name="Connor Xu" userId="a2fa5610-7f85-41f8-9630-afc02cec4fa9" providerId="ADAL" clId="{DBA3AD92-5D80-4B55-9938-D1642B73B5C0}" dt="2024-09-13T01:00:44.510" v="3879"/>
          <ac:spMkLst>
            <pc:docMk/>
            <pc:sldMk cId="705608436" sldId="2147471735"/>
            <ac:spMk id="13" creationId="{EE69A437-56F7-DA1F-215F-B193AFAA27BD}"/>
          </ac:spMkLst>
        </pc:spChg>
        <pc:spChg chg="add del mod modVis">
          <ac:chgData name="Connor Xu" userId="a2fa5610-7f85-41f8-9630-afc02cec4fa9" providerId="ADAL" clId="{DBA3AD92-5D80-4B55-9938-D1642B73B5C0}" dt="2024-09-13T01:00:47.316" v="3911"/>
          <ac:spMkLst>
            <pc:docMk/>
            <pc:sldMk cId="705608436" sldId="2147471735"/>
            <ac:spMk id="14" creationId="{CFBD4B50-381E-6864-3E3D-CB500C194433}"/>
          </ac:spMkLst>
        </pc:spChg>
        <pc:spChg chg="add del mod modVis">
          <ac:chgData name="Connor Xu" userId="a2fa5610-7f85-41f8-9630-afc02cec4fa9" providerId="ADAL" clId="{DBA3AD92-5D80-4B55-9938-D1642B73B5C0}" dt="2024-09-13T01:00:49.827" v="3942"/>
          <ac:spMkLst>
            <pc:docMk/>
            <pc:sldMk cId="705608436" sldId="2147471735"/>
            <ac:spMk id="15" creationId="{567B14D4-D6C1-44AD-B082-5B1770FD1BBA}"/>
          </ac:spMkLst>
        </pc:spChg>
        <pc:graphicFrameChg chg="mod modGraphic">
          <ac:chgData name="Connor Xu" userId="a2fa5610-7f85-41f8-9630-afc02cec4fa9" providerId="ADAL" clId="{DBA3AD92-5D80-4B55-9938-D1642B73B5C0}" dt="2024-09-13T02:25:21" v="4652" actId="1036"/>
          <ac:graphicFrameMkLst>
            <pc:docMk/>
            <pc:sldMk cId="705608436" sldId="2147471735"/>
            <ac:graphicFrameMk id="4" creationId="{BD48924B-0496-CA2C-8D73-A47E59DB3E4C}"/>
          </ac:graphicFrameMkLst>
        </pc:graphicFrameChg>
        <pc:graphicFrameChg chg="mod">
          <ac:chgData name="Connor Xu" userId="a2fa5610-7f85-41f8-9630-afc02cec4fa9" providerId="ADAL" clId="{DBA3AD92-5D80-4B55-9938-D1642B73B5C0}" dt="2024-09-13T01:00:49.827" v="3944"/>
          <ac:graphicFrameMkLst>
            <pc:docMk/>
            <pc:sldMk cId="705608436" sldId="2147471735"/>
            <ac:graphicFrameMk id="6" creationId="{4CEFBE91-2D89-61B4-337F-14E326438BB1}"/>
          </ac:graphicFrameMkLst>
        </pc:graphicFrameChg>
      </pc:sldChg>
      <pc:sldChg chg="addSp delSp modSp add mod">
        <pc:chgData name="Connor Xu" userId="a2fa5610-7f85-41f8-9630-afc02cec4fa9" providerId="ADAL" clId="{DBA3AD92-5D80-4B55-9938-D1642B73B5C0}" dt="2024-09-13T02:28:01.154" v="4827" actId="14100"/>
        <pc:sldMkLst>
          <pc:docMk/>
          <pc:sldMk cId="3355992997" sldId="2147471736"/>
        </pc:sldMkLst>
        <pc:spChg chg="mod">
          <ac:chgData name="Connor Xu" userId="a2fa5610-7f85-41f8-9630-afc02cec4fa9" providerId="ADAL" clId="{DBA3AD92-5D80-4B55-9938-D1642B73B5C0}" dt="2024-09-13T01:01:45.411" v="4190" actId="20577"/>
          <ac:spMkLst>
            <pc:docMk/>
            <pc:sldMk cId="3355992997" sldId="2147471736"/>
            <ac:spMk id="2" creationId="{B068FAC4-4E35-4912-1E95-4C38FB047EE7}"/>
          </ac:spMkLst>
        </pc:spChg>
        <pc:spChg chg="mod">
          <ac:chgData name="Connor Xu" userId="a2fa5610-7f85-41f8-9630-afc02cec4fa9" providerId="ADAL" clId="{DBA3AD92-5D80-4B55-9938-D1642B73B5C0}" dt="2024-09-13T01:01:41.493" v="4155" actId="948"/>
          <ac:spMkLst>
            <pc:docMk/>
            <pc:sldMk cId="3355992997" sldId="2147471736"/>
            <ac:spMk id="3" creationId="{0B0E0EEE-AAF7-27D9-5453-D9B85663617E}"/>
          </ac:spMkLst>
        </pc:spChg>
        <pc:spChg chg="add del mod modVis">
          <ac:chgData name="Connor Xu" userId="a2fa5610-7f85-41f8-9630-afc02cec4fa9" providerId="ADAL" clId="{DBA3AD92-5D80-4B55-9938-D1642B73B5C0}" dt="2024-09-13T01:01:22.774" v="3998"/>
          <ac:spMkLst>
            <pc:docMk/>
            <pc:sldMk cId="3355992997" sldId="2147471736"/>
            <ac:spMk id="5" creationId="{51F2F2E4-F43B-3F70-D39D-205F26102518}"/>
          </ac:spMkLst>
        </pc:spChg>
        <pc:spChg chg="add del mod modVis">
          <ac:chgData name="Connor Xu" userId="a2fa5610-7f85-41f8-9630-afc02cec4fa9" providerId="ADAL" clId="{DBA3AD92-5D80-4B55-9938-D1642B73B5C0}" dt="2024-09-13T01:01:32.458" v="4034"/>
          <ac:spMkLst>
            <pc:docMk/>
            <pc:sldMk cId="3355992997" sldId="2147471736"/>
            <ac:spMk id="7" creationId="{A2143087-6BAA-EAC1-724B-1581AC878725}"/>
          </ac:spMkLst>
        </pc:spChg>
        <pc:spChg chg="add del mod modVis">
          <ac:chgData name="Connor Xu" userId="a2fa5610-7f85-41f8-9630-afc02cec4fa9" providerId="ADAL" clId="{DBA3AD92-5D80-4B55-9938-D1642B73B5C0}" dt="2024-09-13T01:01:33.070" v="4065"/>
          <ac:spMkLst>
            <pc:docMk/>
            <pc:sldMk cId="3355992997" sldId="2147471736"/>
            <ac:spMk id="8" creationId="{C0FDCEA6-53D7-EA1A-C4E8-766FA4E2805D}"/>
          </ac:spMkLst>
        </pc:spChg>
        <pc:spChg chg="add del mod modVis">
          <ac:chgData name="Connor Xu" userId="a2fa5610-7f85-41f8-9630-afc02cec4fa9" providerId="ADAL" clId="{DBA3AD92-5D80-4B55-9938-D1642B73B5C0}" dt="2024-09-13T01:01:34.030" v="4101"/>
          <ac:spMkLst>
            <pc:docMk/>
            <pc:sldMk cId="3355992997" sldId="2147471736"/>
            <ac:spMk id="9" creationId="{094FA962-5607-986E-F606-C31A901CBFB3}"/>
          </ac:spMkLst>
        </pc:spChg>
        <pc:spChg chg="add del mod modVis">
          <ac:chgData name="Connor Xu" userId="a2fa5610-7f85-41f8-9630-afc02cec4fa9" providerId="ADAL" clId="{DBA3AD92-5D80-4B55-9938-D1642B73B5C0}" dt="2024-09-13T01:01:39.590" v="4136"/>
          <ac:spMkLst>
            <pc:docMk/>
            <pc:sldMk cId="3355992997" sldId="2147471736"/>
            <ac:spMk id="10" creationId="{D99E2FFC-0DD6-4A54-38E8-D7DE7A0E96E0}"/>
          </ac:spMkLst>
        </pc:spChg>
        <pc:spChg chg="add del mod modVis">
          <ac:chgData name="Connor Xu" userId="a2fa5610-7f85-41f8-9630-afc02cec4fa9" providerId="ADAL" clId="{DBA3AD92-5D80-4B55-9938-D1642B73B5C0}" dt="2024-09-13T01:01:41.519" v="4182"/>
          <ac:spMkLst>
            <pc:docMk/>
            <pc:sldMk cId="3355992997" sldId="2147471736"/>
            <ac:spMk id="11" creationId="{BEB78328-80BA-858B-246B-0D5D51A0F55D}"/>
          </ac:spMkLst>
        </pc:spChg>
        <pc:graphicFrameChg chg="mod modGraphic">
          <ac:chgData name="Connor Xu" userId="a2fa5610-7f85-41f8-9630-afc02cec4fa9" providerId="ADAL" clId="{DBA3AD92-5D80-4B55-9938-D1642B73B5C0}" dt="2024-09-13T02:28:01.154" v="4827" actId="14100"/>
          <ac:graphicFrameMkLst>
            <pc:docMk/>
            <pc:sldMk cId="3355992997" sldId="2147471736"/>
            <ac:graphicFrameMk id="4" creationId="{BD48924B-0496-CA2C-8D73-A47E59DB3E4C}"/>
          </ac:graphicFrameMkLst>
        </pc:graphicFrameChg>
        <pc:graphicFrameChg chg="mod">
          <ac:chgData name="Connor Xu" userId="a2fa5610-7f85-41f8-9630-afc02cec4fa9" providerId="ADAL" clId="{DBA3AD92-5D80-4B55-9938-D1642B73B5C0}" dt="2024-09-13T01:01:41.519" v="4184"/>
          <ac:graphicFrameMkLst>
            <pc:docMk/>
            <pc:sldMk cId="3355992997" sldId="2147471736"/>
            <ac:graphicFrameMk id="6" creationId="{4CEFBE91-2D89-61B4-337F-14E326438BB1}"/>
          </ac:graphicFrameMkLst>
        </pc:graphicFrameChg>
      </pc:sldChg>
      <pc:sldChg chg="addSp delSp modSp add mod">
        <pc:chgData name="Connor Xu" userId="a2fa5610-7f85-41f8-9630-afc02cec4fa9" providerId="ADAL" clId="{DBA3AD92-5D80-4B55-9938-D1642B73B5C0}" dt="2024-09-13T02:29:43.688" v="5095" actId="1076"/>
        <pc:sldMkLst>
          <pc:docMk/>
          <pc:sldMk cId="2074949178" sldId="2147471737"/>
        </pc:sldMkLst>
        <pc:spChg chg="mod">
          <ac:chgData name="Connor Xu" userId="a2fa5610-7f85-41f8-9630-afc02cec4fa9" providerId="ADAL" clId="{DBA3AD92-5D80-4B55-9938-D1642B73B5C0}" dt="2024-09-13T02:28:27.919" v="4907" actId="20577"/>
          <ac:spMkLst>
            <pc:docMk/>
            <pc:sldMk cId="2074949178" sldId="2147471737"/>
            <ac:spMk id="2" creationId="{B068FAC4-4E35-4912-1E95-4C38FB047EE7}"/>
          </ac:spMkLst>
        </pc:spChg>
        <pc:spChg chg="mod">
          <ac:chgData name="Connor Xu" userId="a2fa5610-7f85-41f8-9630-afc02cec4fa9" providerId="ADAL" clId="{DBA3AD92-5D80-4B55-9938-D1642B73B5C0}" dt="2024-09-13T01:02:09.733" v="4366" actId="948"/>
          <ac:spMkLst>
            <pc:docMk/>
            <pc:sldMk cId="2074949178" sldId="2147471737"/>
            <ac:spMk id="3" creationId="{0B0E0EEE-AAF7-27D9-5453-D9B85663617E}"/>
          </ac:spMkLst>
        </pc:spChg>
        <pc:spChg chg="add del mod modVis">
          <ac:chgData name="Connor Xu" userId="a2fa5610-7f85-41f8-9630-afc02cec4fa9" providerId="ADAL" clId="{DBA3AD92-5D80-4B55-9938-D1642B73B5C0}" dt="2024-09-13T01:01:59.617" v="4219"/>
          <ac:spMkLst>
            <pc:docMk/>
            <pc:sldMk cId="2074949178" sldId="2147471737"/>
            <ac:spMk id="5" creationId="{B4F02619-353E-2EFE-21F3-B16EC2066124}"/>
          </ac:spMkLst>
        </pc:spChg>
        <pc:spChg chg="add del mod modVis">
          <ac:chgData name="Connor Xu" userId="a2fa5610-7f85-41f8-9630-afc02cec4fa9" providerId="ADAL" clId="{DBA3AD92-5D80-4B55-9938-D1642B73B5C0}" dt="2024-09-13T01:02:03.888" v="4282"/>
          <ac:spMkLst>
            <pc:docMk/>
            <pc:sldMk cId="2074949178" sldId="2147471737"/>
            <ac:spMk id="7" creationId="{C0D1EF2A-061D-E40E-42F2-34F3584800D5}"/>
          </ac:spMkLst>
        </pc:spChg>
        <pc:spChg chg="add del mod modVis">
          <ac:chgData name="Connor Xu" userId="a2fa5610-7f85-41f8-9630-afc02cec4fa9" providerId="ADAL" clId="{DBA3AD92-5D80-4B55-9938-D1642B73B5C0}" dt="2024-09-13T01:02:06.595" v="4318"/>
          <ac:spMkLst>
            <pc:docMk/>
            <pc:sldMk cId="2074949178" sldId="2147471737"/>
            <ac:spMk id="8" creationId="{60E4777C-3337-D2F1-940D-D2D40F434F7D}"/>
          </ac:spMkLst>
        </pc:spChg>
        <pc:spChg chg="add del mod modVis">
          <ac:chgData name="Connor Xu" userId="a2fa5610-7f85-41f8-9630-afc02cec4fa9" providerId="ADAL" clId="{DBA3AD92-5D80-4B55-9938-D1642B73B5C0}" dt="2024-09-13T01:02:08.667" v="4355"/>
          <ac:spMkLst>
            <pc:docMk/>
            <pc:sldMk cId="2074949178" sldId="2147471737"/>
            <ac:spMk id="9" creationId="{6C04D3AB-C1BC-A134-A145-825E5A009AF5}"/>
          </ac:spMkLst>
        </pc:spChg>
        <pc:spChg chg="add del mod modVis">
          <ac:chgData name="Connor Xu" userId="a2fa5610-7f85-41f8-9630-afc02cec4fa9" providerId="ADAL" clId="{DBA3AD92-5D80-4B55-9938-D1642B73B5C0}" dt="2024-09-13T01:02:09.749" v="4393"/>
          <ac:spMkLst>
            <pc:docMk/>
            <pc:sldMk cId="2074949178" sldId="2147471737"/>
            <ac:spMk id="10" creationId="{C7AEE2FE-5DAC-CD32-E32F-12081B921750}"/>
          </ac:spMkLst>
        </pc:spChg>
        <pc:graphicFrameChg chg="mod modGraphic">
          <ac:chgData name="Connor Xu" userId="a2fa5610-7f85-41f8-9630-afc02cec4fa9" providerId="ADAL" clId="{DBA3AD92-5D80-4B55-9938-D1642B73B5C0}" dt="2024-09-13T02:29:43.688" v="5095" actId="1076"/>
          <ac:graphicFrameMkLst>
            <pc:docMk/>
            <pc:sldMk cId="2074949178" sldId="2147471737"/>
            <ac:graphicFrameMk id="4" creationId="{BD48924B-0496-CA2C-8D73-A47E59DB3E4C}"/>
          </ac:graphicFrameMkLst>
        </pc:graphicFrameChg>
        <pc:graphicFrameChg chg="mod">
          <ac:chgData name="Connor Xu" userId="a2fa5610-7f85-41f8-9630-afc02cec4fa9" providerId="ADAL" clId="{DBA3AD92-5D80-4B55-9938-D1642B73B5C0}" dt="2024-09-13T01:02:09.749" v="4395"/>
          <ac:graphicFrameMkLst>
            <pc:docMk/>
            <pc:sldMk cId="2074949178" sldId="2147471737"/>
            <ac:graphicFrameMk id="6" creationId="{4CEFBE91-2D89-61B4-337F-14E326438BB1}"/>
          </ac:graphicFrameMkLst>
        </pc:graphicFrameChg>
      </pc:sldChg>
      <pc:sldMasterChg chg="delSldLayout">
        <pc:chgData name="Connor Xu" userId="a2fa5610-7f85-41f8-9630-afc02cec4fa9" providerId="ADAL" clId="{DBA3AD92-5D80-4B55-9938-D1642B73B5C0}" dt="2024-09-13T00:45:31.431" v="2742" actId="47"/>
        <pc:sldMasterMkLst>
          <pc:docMk/>
          <pc:sldMasterMk cId="3713331802" sldId="2147483670"/>
        </pc:sldMasterMkLst>
        <pc:sldLayoutChg chg="del">
          <pc:chgData name="Connor Xu" userId="a2fa5610-7f85-41f8-9630-afc02cec4fa9" providerId="ADAL" clId="{DBA3AD92-5D80-4B55-9938-D1642B73B5C0}" dt="2024-09-13T00:45:31.431" v="2742" actId="47"/>
          <pc:sldLayoutMkLst>
            <pc:docMk/>
            <pc:sldMasterMk cId="3713331802" sldId="2147483670"/>
            <pc:sldLayoutMk cId="3327048216" sldId="2147483802"/>
          </pc:sldLayoutMkLst>
        </pc:sldLayoutChg>
      </pc:sldMasterChg>
    </pc:docChg>
  </pc:docChgLst>
  <pc:docChgLst>
    <pc:chgData name="Connor Xu" userId="a2fa5610-7f85-41f8-9630-afc02cec4fa9" providerId="ADAL" clId="{39D5BF1A-0EE9-496D-9199-853EEBDEDBD5}"/>
    <pc:docChg chg="undo redo custSel addSld delSld modSld sldOrd modSection">
      <pc:chgData name="Connor Xu" userId="a2fa5610-7f85-41f8-9630-afc02cec4fa9" providerId="ADAL" clId="{39D5BF1A-0EE9-496D-9199-853EEBDEDBD5}" dt="2024-09-06T03:29:29.646" v="8359" actId="20577"/>
      <pc:docMkLst>
        <pc:docMk/>
      </pc:docMkLst>
      <pc:sldChg chg="del">
        <pc:chgData name="Connor Xu" userId="a2fa5610-7f85-41f8-9630-afc02cec4fa9" providerId="ADAL" clId="{39D5BF1A-0EE9-496D-9199-853EEBDEDBD5}" dt="2024-09-06T02:59:53.876" v="6473" actId="47"/>
        <pc:sldMkLst>
          <pc:docMk/>
          <pc:sldMk cId="806101404" sldId="2147471590"/>
        </pc:sldMkLst>
      </pc:sldChg>
      <pc:sldChg chg="del">
        <pc:chgData name="Connor Xu" userId="a2fa5610-7f85-41f8-9630-afc02cec4fa9" providerId="ADAL" clId="{39D5BF1A-0EE9-496D-9199-853EEBDEDBD5}" dt="2024-09-06T02:59:53.876" v="6473" actId="47"/>
        <pc:sldMkLst>
          <pc:docMk/>
          <pc:sldMk cId="4208571328" sldId="2147471596"/>
        </pc:sldMkLst>
      </pc:sldChg>
      <pc:sldChg chg="modSp mod">
        <pc:chgData name="Connor Xu" userId="a2fa5610-7f85-41f8-9630-afc02cec4fa9" providerId="ADAL" clId="{39D5BF1A-0EE9-496D-9199-853EEBDEDBD5}" dt="2024-09-06T00:35:22.851" v="392" actId="20577"/>
        <pc:sldMkLst>
          <pc:docMk/>
          <pc:sldMk cId="2083619045" sldId="2147471602"/>
        </pc:sldMkLst>
        <pc:spChg chg="mod">
          <ac:chgData name="Connor Xu" userId="a2fa5610-7f85-41f8-9630-afc02cec4fa9" providerId="ADAL" clId="{39D5BF1A-0EE9-496D-9199-853EEBDEDBD5}" dt="2024-09-06T00:35:22.851" v="392" actId="20577"/>
          <ac:spMkLst>
            <pc:docMk/>
            <pc:sldMk cId="2083619045" sldId="2147471602"/>
            <ac:spMk id="4" creationId="{74695963-93D3-CEED-3211-EA22860FE331}"/>
          </ac:spMkLst>
        </pc:spChg>
      </pc:sldChg>
      <pc:sldChg chg="addSp delSp modSp add mod">
        <pc:chgData name="Connor Xu" userId="a2fa5610-7f85-41f8-9630-afc02cec4fa9" providerId="ADAL" clId="{39D5BF1A-0EE9-496D-9199-853EEBDEDBD5}" dt="2024-09-06T02:09:38.288" v="3770" actId="20577"/>
        <pc:sldMkLst>
          <pc:docMk/>
          <pc:sldMk cId="2259921476" sldId="2147471634"/>
        </pc:sldMkLst>
        <pc:spChg chg="mod">
          <ac:chgData name="Connor Xu" userId="a2fa5610-7f85-41f8-9630-afc02cec4fa9" providerId="ADAL" clId="{39D5BF1A-0EE9-496D-9199-853EEBDEDBD5}" dt="2024-09-06T01:32:37.428" v="3168"/>
          <ac:spMkLst>
            <pc:docMk/>
            <pc:sldMk cId="2259921476" sldId="2147471634"/>
            <ac:spMk id="3" creationId="{B2712FE7-2380-FDBF-7AE6-9DA73456559A}"/>
          </ac:spMkLst>
        </pc:spChg>
        <pc:spChg chg="del">
          <ac:chgData name="Connor Xu" userId="a2fa5610-7f85-41f8-9630-afc02cec4fa9" providerId="ADAL" clId="{39D5BF1A-0EE9-496D-9199-853EEBDEDBD5}" dt="2024-09-06T01:33:28.601" v="3213" actId="478"/>
          <ac:spMkLst>
            <pc:docMk/>
            <pc:sldMk cId="2259921476" sldId="2147471634"/>
            <ac:spMk id="4" creationId="{8753471D-3DB7-5C09-EA7C-EF01F0989D76}"/>
          </ac:spMkLst>
        </pc:spChg>
        <pc:spChg chg="add">
          <ac:chgData name="Connor Xu" userId="a2fa5610-7f85-41f8-9630-afc02cec4fa9" providerId="ADAL" clId="{39D5BF1A-0EE9-496D-9199-853EEBDEDBD5}" dt="2024-09-06T01:36:16.018" v="3228"/>
          <ac:spMkLst>
            <pc:docMk/>
            <pc:sldMk cId="2259921476" sldId="2147471634"/>
            <ac:spMk id="8" creationId="{EC853AA7-0B15-BFB6-A1B0-F677EBDA2E0D}"/>
          </ac:spMkLst>
        </pc:spChg>
        <pc:spChg chg="mod">
          <ac:chgData name="Connor Xu" userId="a2fa5610-7f85-41f8-9630-afc02cec4fa9" providerId="ADAL" clId="{39D5BF1A-0EE9-496D-9199-853EEBDEDBD5}" dt="2024-09-06T01:42:16.628" v="3278" actId="207"/>
          <ac:spMkLst>
            <pc:docMk/>
            <pc:sldMk cId="2259921476" sldId="2147471634"/>
            <ac:spMk id="11" creationId="{74C2D160-E46A-0958-AD2A-93B048C7666C}"/>
          </ac:spMkLst>
        </pc:spChg>
        <pc:spChg chg="del">
          <ac:chgData name="Connor Xu" userId="a2fa5610-7f85-41f8-9630-afc02cec4fa9" providerId="ADAL" clId="{39D5BF1A-0EE9-496D-9199-853EEBDEDBD5}" dt="2024-09-06T01:33:28.601" v="3213" actId="478"/>
          <ac:spMkLst>
            <pc:docMk/>
            <pc:sldMk cId="2259921476" sldId="2147471634"/>
            <ac:spMk id="12" creationId="{F90A2BE8-D2A2-2AF9-185B-A1DD36356518}"/>
          </ac:spMkLst>
        </pc:spChg>
        <pc:spChg chg="del">
          <ac:chgData name="Connor Xu" userId="a2fa5610-7f85-41f8-9630-afc02cec4fa9" providerId="ADAL" clId="{39D5BF1A-0EE9-496D-9199-853EEBDEDBD5}" dt="2024-09-06T01:33:28.601" v="3213" actId="478"/>
          <ac:spMkLst>
            <pc:docMk/>
            <pc:sldMk cId="2259921476" sldId="2147471634"/>
            <ac:spMk id="13" creationId="{BCFAB30B-97FE-B340-3270-B265B3EEE669}"/>
          </ac:spMkLst>
        </pc:spChg>
        <pc:spChg chg="del">
          <ac:chgData name="Connor Xu" userId="a2fa5610-7f85-41f8-9630-afc02cec4fa9" providerId="ADAL" clId="{39D5BF1A-0EE9-496D-9199-853EEBDEDBD5}" dt="2024-09-06T01:33:28.601" v="3213" actId="478"/>
          <ac:spMkLst>
            <pc:docMk/>
            <pc:sldMk cId="2259921476" sldId="2147471634"/>
            <ac:spMk id="14" creationId="{EE2C1E73-9E21-15FF-D8C0-7A4A6638554E}"/>
          </ac:spMkLst>
        </pc:spChg>
        <pc:spChg chg="mod">
          <ac:chgData name="Connor Xu" userId="a2fa5610-7f85-41f8-9630-afc02cec4fa9" providerId="ADAL" clId="{39D5BF1A-0EE9-496D-9199-853EEBDEDBD5}" dt="2024-09-06T01:42:10.996" v="3277" actId="207"/>
          <ac:spMkLst>
            <pc:docMk/>
            <pc:sldMk cId="2259921476" sldId="2147471634"/>
            <ac:spMk id="15" creationId="{3AF00FED-5BF9-A07B-BD73-E89AEC618169}"/>
          </ac:spMkLst>
        </pc:spChg>
        <pc:spChg chg="mod">
          <ac:chgData name="Connor Xu" userId="a2fa5610-7f85-41f8-9630-afc02cec4fa9" providerId="ADAL" clId="{39D5BF1A-0EE9-496D-9199-853EEBDEDBD5}" dt="2024-09-06T01:42:37.275" v="3279" actId="207"/>
          <ac:spMkLst>
            <pc:docMk/>
            <pc:sldMk cId="2259921476" sldId="2147471634"/>
            <ac:spMk id="16" creationId="{59B48683-F8AB-3C3C-3276-67B509A8EEC1}"/>
          </ac:spMkLst>
        </pc:spChg>
        <pc:spChg chg="mod">
          <ac:chgData name="Connor Xu" userId="a2fa5610-7f85-41f8-9630-afc02cec4fa9" providerId="ADAL" clId="{39D5BF1A-0EE9-496D-9199-853EEBDEDBD5}" dt="2024-09-06T01:34:17.054" v="3223" actId="164"/>
          <ac:spMkLst>
            <pc:docMk/>
            <pc:sldMk cId="2259921476" sldId="2147471634"/>
            <ac:spMk id="17" creationId="{CE178D94-FE93-5BF4-5B52-897A19982393}"/>
          </ac:spMkLst>
        </pc:spChg>
        <pc:spChg chg="mod">
          <ac:chgData name="Connor Xu" userId="a2fa5610-7f85-41f8-9630-afc02cec4fa9" providerId="ADAL" clId="{39D5BF1A-0EE9-496D-9199-853EEBDEDBD5}" dt="2024-09-06T01:42:43.682" v="3280" actId="20577"/>
          <ac:spMkLst>
            <pc:docMk/>
            <pc:sldMk cId="2259921476" sldId="2147471634"/>
            <ac:spMk id="18" creationId="{DB8DB690-0E50-2013-5A82-A3035597BD9F}"/>
          </ac:spMkLst>
        </pc:spChg>
        <pc:spChg chg="mod">
          <ac:chgData name="Connor Xu" userId="a2fa5610-7f85-41f8-9630-afc02cec4fa9" providerId="ADAL" clId="{39D5BF1A-0EE9-496D-9199-853EEBDEDBD5}" dt="2024-09-06T01:34:04.187" v="3221" actId="164"/>
          <ac:spMkLst>
            <pc:docMk/>
            <pc:sldMk cId="2259921476" sldId="2147471634"/>
            <ac:spMk id="19" creationId="{76B5A443-ABE7-4ABB-7987-42749459C475}"/>
          </ac:spMkLst>
        </pc:spChg>
        <pc:spChg chg="mod">
          <ac:chgData name="Connor Xu" userId="a2fa5610-7f85-41f8-9630-afc02cec4fa9" providerId="ADAL" clId="{39D5BF1A-0EE9-496D-9199-853EEBDEDBD5}" dt="2024-09-06T01:41:24.632" v="3271" actId="20577"/>
          <ac:spMkLst>
            <pc:docMk/>
            <pc:sldMk cId="2259921476" sldId="2147471634"/>
            <ac:spMk id="20" creationId="{DCC2EA68-A4AA-A149-FE75-AE6BA6D1C130}"/>
          </ac:spMkLst>
        </pc:spChg>
        <pc:spChg chg="mod">
          <ac:chgData name="Connor Xu" userId="a2fa5610-7f85-41f8-9630-afc02cec4fa9" providerId="ADAL" clId="{39D5BF1A-0EE9-496D-9199-853EEBDEDBD5}" dt="2024-09-06T01:44:30.325" v="3329" actId="20577"/>
          <ac:spMkLst>
            <pc:docMk/>
            <pc:sldMk cId="2259921476" sldId="2147471634"/>
            <ac:spMk id="21" creationId="{1028F603-74CF-0C03-3ACF-66F9BD47723F}"/>
          </ac:spMkLst>
        </pc:spChg>
        <pc:spChg chg="mod">
          <ac:chgData name="Connor Xu" userId="a2fa5610-7f85-41f8-9630-afc02cec4fa9" providerId="ADAL" clId="{39D5BF1A-0EE9-496D-9199-853EEBDEDBD5}" dt="2024-09-06T01:38:47.646" v="3239" actId="255"/>
          <ac:spMkLst>
            <pc:docMk/>
            <pc:sldMk cId="2259921476" sldId="2147471634"/>
            <ac:spMk id="22" creationId="{5C3CCB56-9C10-D15A-4632-AFFE7168CE74}"/>
          </ac:spMkLst>
        </pc:spChg>
        <pc:spChg chg="mod">
          <ac:chgData name="Connor Xu" userId="a2fa5610-7f85-41f8-9630-afc02cec4fa9" providerId="ADAL" clId="{39D5BF1A-0EE9-496D-9199-853EEBDEDBD5}" dt="2024-09-06T01:38:47.646" v="3239" actId="255"/>
          <ac:spMkLst>
            <pc:docMk/>
            <pc:sldMk cId="2259921476" sldId="2147471634"/>
            <ac:spMk id="23" creationId="{2024E855-FA4E-DDC5-9EB0-50E85D1DDF36}"/>
          </ac:spMkLst>
        </pc:spChg>
        <pc:spChg chg="mod">
          <ac:chgData name="Connor Xu" userId="a2fa5610-7f85-41f8-9630-afc02cec4fa9" providerId="ADAL" clId="{39D5BF1A-0EE9-496D-9199-853EEBDEDBD5}" dt="2024-09-06T01:38:47.646" v="3239" actId="255"/>
          <ac:spMkLst>
            <pc:docMk/>
            <pc:sldMk cId="2259921476" sldId="2147471634"/>
            <ac:spMk id="24" creationId="{86018519-15D5-A14B-4CE8-035685FD2E3B}"/>
          </ac:spMkLst>
        </pc:spChg>
        <pc:spChg chg="mod">
          <ac:chgData name="Connor Xu" userId="a2fa5610-7f85-41f8-9630-afc02cec4fa9" providerId="ADAL" clId="{39D5BF1A-0EE9-496D-9199-853EEBDEDBD5}" dt="2024-09-06T01:38:47.646" v="3239" actId="255"/>
          <ac:spMkLst>
            <pc:docMk/>
            <pc:sldMk cId="2259921476" sldId="2147471634"/>
            <ac:spMk id="25" creationId="{A9F3D59F-18C7-21D7-AA8C-C1D0E7339A6F}"/>
          </ac:spMkLst>
        </pc:spChg>
        <pc:spChg chg="mod">
          <ac:chgData name="Connor Xu" userId="a2fa5610-7f85-41f8-9630-afc02cec4fa9" providerId="ADAL" clId="{39D5BF1A-0EE9-496D-9199-853EEBDEDBD5}" dt="2024-09-06T01:38:47.646" v="3239" actId="255"/>
          <ac:spMkLst>
            <pc:docMk/>
            <pc:sldMk cId="2259921476" sldId="2147471634"/>
            <ac:spMk id="28" creationId="{84347963-80D7-E8D2-E160-79F12D296B7E}"/>
          </ac:spMkLst>
        </pc:spChg>
        <pc:spChg chg="mod">
          <ac:chgData name="Connor Xu" userId="a2fa5610-7f85-41f8-9630-afc02cec4fa9" providerId="ADAL" clId="{39D5BF1A-0EE9-496D-9199-853EEBDEDBD5}" dt="2024-09-06T01:38:47.646" v="3239" actId="255"/>
          <ac:spMkLst>
            <pc:docMk/>
            <pc:sldMk cId="2259921476" sldId="2147471634"/>
            <ac:spMk id="29" creationId="{1599D85E-AEB2-E190-6574-75391B5E0456}"/>
          </ac:spMkLst>
        </pc:spChg>
        <pc:spChg chg="mod">
          <ac:chgData name="Connor Xu" userId="a2fa5610-7f85-41f8-9630-afc02cec4fa9" providerId="ADAL" clId="{39D5BF1A-0EE9-496D-9199-853EEBDEDBD5}" dt="2024-09-06T01:38:47.646" v="3239" actId="255"/>
          <ac:spMkLst>
            <pc:docMk/>
            <pc:sldMk cId="2259921476" sldId="2147471634"/>
            <ac:spMk id="34" creationId="{A187CF3F-B5FD-2342-B733-3E5F5ECFC012}"/>
          </ac:spMkLst>
        </pc:spChg>
        <pc:spChg chg="mod">
          <ac:chgData name="Connor Xu" userId="a2fa5610-7f85-41f8-9630-afc02cec4fa9" providerId="ADAL" clId="{39D5BF1A-0EE9-496D-9199-853EEBDEDBD5}" dt="2024-09-06T01:44:39.679" v="3339" actId="20577"/>
          <ac:spMkLst>
            <pc:docMk/>
            <pc:sldMk cId="2259921476" sldId="2147471634"/>
            <ac:spMk id="36" creationId="{02FC1CD2-1FC4-8087-0057-5AFCCF2882BF}"/>
          </ac:spMkLst>
        </pc:spChg>
        <pc:spChg chg="mod">
          <ac:chgData name="Connor Xu" userId="a2fa5610-7f85-41f8-9630-afc02cec4fa9" providerId="ADAL" clId="{39D5BF1A-0EE9-496D-9199-853EEBDEDBD5}" dt="2024-09-06T01:38:47.646" v="3239" actId="255"/>
          <ac:spMkLst>
            <pc:docMk/>
            <pc:sldMk cId="2259921476" sldId="2147471634"/>
            <ac:spMk id="40" creationId="{4E8424B5-79A0-FA41-2B50-BAC14E976EAB}"/>
          </ac:spMkLst>
        </pc:spChg>
        <pc:spChg chg="mod">
          <ac:chgData name="Connor Xu" userId="a2fa5610-7f85-41f8-9630-afc02cec4fa9" providerId="ADAL" clId="{39D5BF1A-0EE9-496D-9199-853EEBDEDBD5}" dt="2024-09-06T01:38:47.646" v="3239" actId="255"/>
          <ac:spMkLst>
            <pc:docMk/>
            <pc:sldMk cId="2259921476" sldId="2147471634"/>
            <ac:spMk id="43" creationId="{ED5F397B-DCB3-8CDA-BACC-8C7E96C6D35B}"/>
          </ac:spMkLst>
        </pc:spChg>
        <pc:spChg chg="add mod">
          <ac:chgData name="Connor Xu" userId="a2fa5610-7f85-41f8-9630-afc02cec4fa9" providerId="ADAL" clId="{39D5BF1A-0EE9-496D-9199-853EEBDEDBD5}" dt="2024-09-06T01:45:12.594" v="3347" actId="207"/>
          <ac:spMkLst>
            <pc:docMk/>
            <pc:sldMk cId="2259921476" sldId="2147471634"/>
            <ac:spMk id="44" creationId="{94F7C7C1-97D1-5022-F668-17FB77240DB0}"/>
          </ac:spMkLst>
        </pc:spChg>
        <pc:spChg chg="mod">
          <ac:chgData name="Connor Xu" userId="a2fa5610-7f85-41f8-9630-afc02cec4fa9" providerId="ADAL" clId="{39D5BF1A-0EE9-496D-9199-853EEBDEDBD5}" dt="2024-09-06T02:09:38.288" v="3770" actId="20577"/>
          <ac:spMkLst>
            <pc:docMk/>
            <pc:sldMk cId="2259921476" sldId="2147471634"/>
            <ac:spMk id="45" creationId="{C2606579-9A97-6DA5-23BF-C3DF2BCB8E74}"/>
          </ac:spMkLst>
        </pc:spChg>
        <pc:spChg chg="add mod">
          <ac:chgData name="Connor Xu" userId="a2fa5610-7f85-41f8-9630-afc02cec4fa9" providerId="ADAL" clId="{39D5BF1A-0EE9-496D-9199-853EEBDEDBD5}" dt="2024-09-06T01:45:12.594" v="3347" actId="207"/>
          <ac:spMkLst>
            <pc:docMk/>
            <pc:sldMk cId="2259921476" sldId="2147471634"/>
            <ac:spMk id="46" creationId="{ADB19F8E-FD3D-F092-1F16-3D4988966B42}"/>
          </ac:spMkLst>
        </pc:spChg>
        <pc:grpChg chg="add mod">
          <ac:chgData name="Connor Xu" userId="a2fa5610-7f85-41f8-9630-afc02cec4fa9" providerId="ADAL" clId="{39D5BF1A-0EE9-496D-9199-853EEBDEDBD5}" dt="2024-09-06T01:34:28.924" v="3226" actId="1076"/>
          <ac:grpSpMkLst>
            <pc:docMk/>
            <pc:sldMk cId="2259921476" sldId="2147471634"/>
            <ac:grpSpMk id="2" creationId="{7BF92F31-15FD-FC7A-F68B-4B8DCA42B449}"/>
          </ac:grpSpMkLst>
        </pc:grpChg>
        <pc:grpChg chg="add mod">
          <ac:chgData name="Connor Xu" userId="a2fa5610-7f85-41f8-9630-afc02cec4fa9" providerId="ADAL" clId="{39D5BF1A-0EE9-496D-9199-853EEBDEDBD5}" dt="2024-09-06T01:42:10.996" v="3277" actId="207"/>
          <ac:grpSpMkLst>
            <pc:docMk/>
            <pc:sldMk cId="2259921476" sldId="2147471634"/>
            <ac:grpSpMk id="6" creationId="{4F450329-5AD9-F04F-B3ED-AF8DCA05440E}"/>
          </ac:grpSpMkLst>
        </pc:grpChg>
        <pc:grpChg chg="add mod">
          <ac:chgData name="Connor Xu" userId="a2fa5610-7f85-41f8-9630-afc02cec4fa9" providerId="ADAL" clId="{39D5BF1A-0EE9-496D-9199-853EEBDEDBD5}" dt="2024-09-06T01:34:17.054" v="3223" actId="164"/>
          <ac:grpSpMkLst>
            <pc:docMk/>
            <pc:sldMk cId="2259921476" sldId="2147471634"/>
            <ac:grpSpMk id="7" creationId="{E052491B-C3ED-8900-0214-CF732724523B}"/>
          </ac:grpSpMkLst>
        </pc:grpChg>
        <pc:grpChg chg="add mod">
          <ac:chgData name="Connor Xu" userId="a2fa5610-7f85-41f8-9630-afc02cec4fa9" providerId="ADAL" clId="{39D5BF1A-0EE9-496D-9199-853EEBDEDBD5}" dt="2024-09-06T01:44:58.394" v="3344" actId="552"/>
          <ac:grpSpMkLst>
            <pc:docMk/>
            <pc:sldMk cId="2259921476" sldId="2147471634"/>
            <ac:grpSpMk id="10" creationId="{3D18A41A-40A7-316A-948C-9419B0D21513}"/>
          </ac:grpSpMkLst>
        </pc:grpChg>
        <pc:picChg chg="add mod">
          <ac:chgData name="Connor Xu" userId="a2fa5610-7f85-41f8-9630-afc02cec4fa9" providerId="ADAL" clId="{39D5BF1A-0EE9-496D-9199-853EEBDEDBD5}" dt="2024-09-06T01:37:20.921" v="3236"/>
          <ac:picMkLst>
            <pc:docMk/>
            <pc:sldMk cId="2259921476" sldId="2147471634"/>
            <ac:picMk id="9" creationId="{72A9E865-37FD-C538-A56E-F383BEC6C5EA}"/>
          </ac:picMkLst>
        </pc:picChg>
        <pc:cxnChg chg="mod">
          <ac:chgData name="Connor Xu" userId="a2fa5610-7f85-41f8-9630-afc02cec4fa9" providerId="ADAL" clId="{39D5BF1A-0EE9-496D-9199-853EEBDEDBD5}" dt="2024-09-06T01:38:37.826" v="3237"/>
          <ac:cxnSpMkLst>
            <pc:docMk/>
            <pc:sldMk cId="2259921476" sldId="2147471634"/>
            <ac:cxnSpMk id="26" creationId="{D50A75C6-5A45-4086-35EF-856EDC6EAB0D}"/>
          </ac:cxnSpMkLst>
        </pc:cxnChg>
        <pc:cxnChg chg="mod">
          <ac:chgData name="Connor Xu" userId="a2fa5610-7f85-41f8-9630-afc02cec4fa9" providerId="ADAL" clId="{39D5BF1A-0EE9-496D-9199-853EEBDEDBD5}" dt="2024-09-06T01:38:37.826" v="3237"/>
          <ac:cxnSpMkLst>
            <pc:docMk/>
            <pc:sldMk cId="2259921476" sldId="2147471634"/>
            <ac:cxnSpMk id="27" creationId="{55F48CC4-5ABE-1BF3-0CB5-573D1E40E8D9}"/>
          </ac:cxnSpMkLst>
        </pc:cxnChg>
        <pc:cxnChg chg="mod">
          <ac:chgData name="Connor Xu" userId="a2fa5610-7f85-41f8-9630-afc02cec4fa9" providerId="ADAL" clId="{39D5BF1A-0EE9-496D-9199-853EEBDEDBD5}" dt="2024-09-06T01:38:37.826" v="3237"/>
          <ac:cxnSpMkLst>
            <pc:docMk/>
            <pc:sldMk cId="2259921476" sldId="2147471634"/>
            <ac:cxnSpMk id="30" creationId="{01635C3B-6B8E-B4A3-36DB-C2037120DADF}"/>
          </ac:cxnSpMkLst>
        </pc:cxnChg>
        <pc:cxnChg chg="mod">
          <ac:chgData name="Connor Xu" userId="a2fa5610-7f85-41f8-9630-afc02cec4fa9" providerId="ADAL" clId="{39D5BF1A-0EE9-496D-9199-853EEBDEDBD5}" dt="2024-09-06T01:38:37.826" v="3237"/>
          <ac:cxnSpMkLst>
            <pc:docMk/>
            <pc:sldMk cId="2259921476" sldId="2147471634"/>
            <ac:cxnSpMk id="31" creationId="{AD461195-5DA6-ADCC-8222-7DADD5423EE4}"/>
          </ac:cxnSpMkLst>
        </pc:cxnChg>
        <pc:cxnChg chg="mod">
          <ac:chgData name="Connor Xu" userId="a2fa5610-7f85-41f8-9630-afc02cec4fa9" providerId="ADAL" clId="{39D5BF1A-0EE9-496D-9199-853EEBDEDBD5}" dt="2024-09-06T01:38:37.826" v="3237"/>
          <ac:cxnSpMkLst>
            <pc:docMk/>
            <pc:sldMk cId="2259921476" sldId="2147471634"/>
            <ac:cxnSpMk id="32" creationId="{D538BB9B-EFAB-1695-9EB9-E2327B592089}"/>
          </ac:cxnSpMkLst>
        </pc:cxnChg>
        <pc:cxnChg chg="mod">
          <ac:chgData name="Connor Xu" userId="a2fa5610-7f85-41f8-9630-afc02cec4fa9" providerId="ADAL" clId="{39D5BF1A-0EE9-496D-9199-853EEBDEDBD5}" dt="2024-09-06T01:38:37.826" v="3237"/>
          <ac:cxnSpMkLst>
            <pc:docMk/>
            <pc:sldMk cId="2259921476" sldId="2147471634"/>
            <ac:cxnSpMk id="33" creationId="{C8FC55C7-742B-3960-FA22-7F82C814D47C}"/>
          </ac:cxnSpMkLst>
        </pc:cxnChg>
        <pc:cxnChg chg="mod">
          <ac:chgData name="Connor Xu" userId="a2fa5610-7f85-41f8-9630-afc02cec4fa9" providerId="ADAL" clId="{39D5BF1A-0EE9-496D-9199-853EEBDEDBD5}" dt="2024-09-06T01:38:37.826" v="3237"/>
          <ac:cxnSpMkLst>
            <pc:docMk/>
            <pc:sldMk cId="2259921476" sldId="2147471634"/>
            <ac:cxnSpMk id="35" creationId="{9282C5FE-7F6F-DF7C-F107-1C52CC9C2C2D}"/>
          </ac:cxnSpMkLst>
        </pc:cxnChg>
        <pc:cxnChg chg="mod">
          <ac:chgData name="Connor Xu" userId="a2fa5610-7f85-41f8-9630-afc02cec4fa9" providerId="ADAL" clId="{39D5BF1A-0EE9-496D-9199-853EEBDEDBD5}" dt="2024-09-06T01:38:37.826" v="3237"/>
          <ac:cxnSpMkLst>
            <pc:docMk/>
            <pc:sldMk cId="2259921476" sldId="2147471634"/>
            <ac:cxnSpMk id="37" creationId="{F119CA01-491A-87DD-3634-BDC9F7FE895C}"/>
          </ac:cxnSpMkLst>
        </pc:cxnChg>
        <pc:cxnChg chg="mod">
          <ac:chgData name="Connor Xu" userId="a2fa5610-7f85-41f8-9630-afc02cec4fa9" providerId="ADAL" clId="{39D5BF1A-0EE9-496D-9199-853EEBDEDBD5}" dt="2024-09-06T01:38:37.826" v="3237"/>
          <ac:cxnSpMkLst>
            <pc:docMk/>
            <pc:sldMk cId="2259921476" sldId="2147471634"/>
            <ac:cxnSpMk id="38" creationId="{724732C5-7425-9C2A-0DAE-6418C3B0E6F7}"/>
          </ac:cxnSpMkLst>
        </pc:cxnChg>
        <pc:cxnChg chg="mod">
          <ac:chgData name="Connor Xu" userId="a2fa5610-7f85-41f8-9630-afc02cec4fa9" providerId="ADAL" clId="{39D5BF1A-0EE9-496D-9199-853EEBDEDBD5}" dt="2024-09-06T01:38:37.826" v="3237"/>
          <ac:cxnSpMkLst>
            <pc:docMk/>
            <pc:sldMk cId="2259921476" sldId="2147471634"/>
            <ac:cxnSpMk id="39" creationId="{38702060-F6E0-5136-3FE2-232309DD073D}"/>
          </ac:cxnSpMkLst>
        </pc:cxnChg>
        <pc:cxnChg chg="mod">
          <ac:chgData name="Connor Xu" userId="a2fa5610-7f85-41f8-9630-afc02cec4fa9" providerId="ADAL" clId="{39D5BF1A-0EE9-496D-9199-853EEBDEDBD5}" dt="2024-09-06T01:38:37.826" v="3237"/>
          <ac:cxnSpMkLst>
            <pc:docMk/>
            <pc:sldMk cId="2259921476" sldId="2147471634"/>
            <ac:cxnSpMk id="41" creationId="{9B16E740-F238-4D2C-54C8-9A42C13F6CFC}"/>
          </ac:cxnSpMkLst>
        </pc:cxnChg>
        <pc:cxnChg chg="mod">
          <ac:chgData name="Connor Xu" userId="a2fa5610-7f85-41f8-9630-afc02cec4fa9" providerId="ADAL" clId="{39D5BF1A-0EE9-496D-9199-853EEBDEDBD5}" dt="2024-09-06T01:38:37.826" v="3237"/>
          <ac:cxnSpMkLst>
            <pc:docMk/>
            <pc:sldMk cId="2259921476" sldId="2147471634"/>
            <ac:cxnSpMk id="42" creationId="{E748AB60-EEB1-5663-734F-A0127147B629}"/>
          </ac:cxnSpMkLst>
        </pc:cxnChg>
      </pc:sldChg>
      <pc:sldChg chg="addSp delSp modSp mod">
        <pc:chgData name="Connor Xu" userId="a2fa5610-7f85-41f8-9630-afc02cec4fa9" providerId="ADAL" clId="{39D5BF1A-0EE9-496D-9199-853EEBDEDBD5}" dt="2024-09-06T03:29:29.646" v="8359" actId="20577"/>
        <pc:sldMkLst>
          <pc:docMk/>
          <pc:sldMk cId="2887098628" sldId="2147471648"/>
        </pc:sldMkLst>
        <pc:spChg chg="mod">
          <ac:chgData name="Connor Xu" userId="a2fa5610-7f85-41f8-9630-afc02cec4fa9" providerId="ADAL" clId="{39D5BF1A-0EE9-496D-9199-853EEBDEDBD5}" dt="2024-09-06T03:22:25.901" v="7844" actId="20577"/>
          <ac:spMkLst>
            <pc:docMk/>
            <pc:sldMk cId="2887098628" sldId="2147471648"/>
            <ac:spMk id="3" creationId="{80CE8119-45A9-B497-B743-3798888405B8}"/>
          </ac:spMkLst>
        </pc:spChg>
        <pc:spChg chg="mod">
          <ac:chgData name="Connor Xu" userId="a2fa5610-7f85-41f8-9630-afc02cec4fa9" providerId="ADAL" clId="{39D5BF1A-0EE9-496D-9199-853EEBDEDBD5}" dt="2024-09-06T03:20:23.724" v="7754" actId="20577"/>
          <ac:spMkLst>
            <pc:docMk/>
            <pc:sldMk cId="2887098628" sldId="2147471648"/>
            <ac:spMk id="4" creationId="{5BE56102-969D-60C5-E08D-D27432E3F129}"/>
          </ac:spMkLst>
        </pc:spChg>
        <pc:spChg chg="mod">
          <ac:chgData name="Connor Xu" userId="a2fa5610-7f85-41f8-9630-afc02cec4fa9" providerId="ADAL" clId="{39D5BF1A-0EE9-496D-9199-853EEBDEDBD5}" dt="2024-09-06T03:25:00.263" v="8129" actId="20577"/>
          <ac:spMkLst>
            <pc:docMk/>
            <pc:sldMk cId="2887098628" sldId="2147471648"/>
            <ac:spMk id="5" creationId="{414FB662-191A-6AE4-B396-41A4E291EEB6}"/>
          </ac:spMkLst>
        </pc:spChg>
        <pc:spChg chg="add mod">
          <ac:chgData name="Connor Xu" userId="a2fa5610-7f85-41f8-9630-afc02cec4fa9" providerId="ADAL" clId="{39D5BF1A-0EE9-496D-9199-853EEBDEDBD5}" dt="2024-09-06T01:16:10.807" v="1926" actId="571"/>
          <ac:spMkLst>
            <pc:docMk/>
            <pc:sldMk cId="2887098628" sldId="2147471648"/>
            <ac:spMk id="6" creationId="{2712A9B0-9EDB-929E-0F9E-B76F86BDC336}"/>
          </ac:spMkLst>
        </pc:spChg>
        <pc:spChg chg="mod">
          <ac:chgData name="Connor Xu" userId="a2fa5610-7f85-41f8-9630-afc02cec4fa9" providerId="ADAL" clId="{39D5BF1A-0EE9-496D-9199-853EEBDEDBD5}" dt="2024-09-06T03:22:42.806" v="7868" actId="1036"/>
          <ac:spMkLst>
            <pc:docMk/>
            <pc:sldMk cId="2887098628" sldId="2147471648"/>
            <ac:spMk id="13" creationId="{0B97B9F7-FF65-85B1-EEB7-8A841D8AA593}"/>
          </ac:spMkLst>
        </pc:spChg>
        <pc:spChg chg="del">
          <ac:chgData name="Connor Xu" userId="a2fa5610-7f85-41f8-9630-afc02cec4fa9" providerId="ADAL" clId="{39D5BF1A-0EE9-496D-9199-853EEBDEDBD5}" dt="2024-09-06T00:41:50.152" v="393" actId="478"/>
          <ac:spMkLst>
            <pc:docMk/>
            <pc:sldMk cId="2887098628" sldId="2147471648"/>
            <ac:spMk id="15" creationId="{5A26544D-C393-6411-1B4F-4C4D5606DA2E}"/>
          </ac:spMkLst>
        </pc:spChg>
        <pc:spChg chg="mod">
          <ac:chgData name="Connor Xu" userId="a2fa5610-7f85-41f8-9630-afc02cec4fa9" providerId="ADAL" clId="{39D5BF1A-0EE9-496D-9199-853EEBDEDBD5}" dt="2024-09-06T01:19:00.440" v="1933" actId="20577"/>
          <ac:spMkLst>
            <pc:docMk/>
            <pc:sldMk cId="2887098628" sldId="2147471648"/>
            <ac:spMk id="21" creationId="{FB2D641F-7EE6-BED9-C5FC-DF6B9F5C3E5D}"/>
          </ac:spMkLst>
        </pc:spChg>
        <pc:spChg chg="mod">
          <ac:chgData name="Connor Xu" userId="a2fa5610-7f85-41f8-9630-afc02cec4fa9" providerId="ADAL" clId="{39D5BF1A-0EE9-496D-9199-853EEBDEDBD5}" dt="2024-09-06T03:29:29.646" v="8359" actId="20577"/>
          <ac:spMkLst>
            <pc:docMk/>
            <pc:sldMk cId="2887098628" sldId="2147471648"/>
            <ac:spMk id="24" creationId="{A68786C5-0F08-67B4-EF2E-B2FD83DED675}"/>
          </ac:spMkLst>
        </pc:spChg>
        <pc:spChg chg="mod">
          <ac:chgData name="Connor Xu" userId="a2fa5610-7f85-41f8-9630-afc02cec4fa9" providerId="ADAL" clId="{39D5BF1A-0EE9-496D-9199-853EEBDEDBD5}" dt="2024-09-06T03:22:42.806" v="7868" actId="1036"/>
          <ac:spMkLst>
            <pc:docMk/>
            <pc:sldMk cId="2887098628" sldId="2147471648"/>
            <ac:spMk id="25" creationId="{7468EDA2-3039-B298-282F-E1688E17F2A3}"/>
          </ac:spMkLst>
        </pc:spChg>
        <pc:grpChg chg="mod">
          <ac:chgData name="Connor Xu" userId="a2fa5610-7f85-41f8-9630-afc02cec4fa9" providerId="ADAL" clId="{39D5BF1A-0EE9-496D-9199-853EEBDEDBD5}" dt="2024-09-06T03:22:48.516" v="7869" actId="1076"/>
          <ac:grpSpMkLst>
            <pc:docMk/>
            <pc:sldMk cId="2887098628" sldId="2147471648"/>
            <ac:grpSpMk id="2" creationId="{783E8177-4E17-C2F0-B7A6-5F4AAF0C5FFD}"/>
          </ac:grpSpMkLst>
        </pc:grpChg>
        <pc:grpChg chg="mod">
          <ac:chgData name="Connor Xu" userId="a2fa5610-7f85-41f8-9630-afc02cec4fa9" providerId="ADAL" clId="{39D5BF1A-0EE9-496D-9199-853EEBDEDBD5}" dt="2024-09-06T01:16:10.807" v="1926" actId="571"/>
          <ac:grpSpMkLst>
            <pc:docMk/>
            <pc:sldMk cId="2887098628" sldId="2147471648"/>
            <ac:grpSpMk id="16" creationId="{5C716E65-6538-869C-BA31-11C7C000A0EB}"/>
          </ac:grpSpMkLst>
        </pc:grpChg>
        <pc:grpChg chg="mod">
          <ac:chgData name="Connor Xu" userId="a2fa5610-7f85-41f8-9630-afc02cec4fa9" providerId="ADAL" clId="{39D5BF1A-0EE9-496D-9199-853EEBDEDBD5}" dt="2024-09-06T01:16:10.807" v="1926" actId="571"/>
          <ac:grpSpMkLst>
            <pc:docMk/>
            <pc:sldMk cId="2887098628" sldId="2147471648"/>
            <ac:grpSpMk id="23" creationId="{ED3C8EF0-03D9-EB2F-A0BE-45CD4AFB7BE4}"/>
          </ac:grpSpMkLst>
        </pc:grpChg>
      </pc:sldChg>
      <pc:sldChg chg="addSp delSp modSp add mod">
        <pc:chgData name="Connor Xu" userId="a2fa5610-7f85-41f8-9630-afc02cec4fa9" providerId="ADAL" clId="{39D5BF1A-0EE9-496D-9199-853EEBDEDBD5}" dt="2024-09-06T01:31:43.389" v="3165" actId="948"/>
        <pc:sldMkLst>
          <pc:docMk/>
          <pc:sldMk cId="1673498922" sldId="2147471649"/>
        </pc:sldMkLst>
        <pc:spChg chg="add mod">
          <ac:chgData name="Connor Xu" userId="a2fa5610-7f85-41f8-9630-afc02cec4fa9" providerId="ADAL" clId="{39D5BF1A-0EE9-496D-9199-853EEBDEDBD5}" dt="2024-09-06T00:59:53.778" v="1470"/>
          <ac:spMkLst>
            <pc:docMk/>
            <pc:sldMk cId="1673498922" sldId="2147471649"/>
            <ac:spMk id="2" creationId="{48B7E025-7707-61E6-B525-FFE8CF6EEA5E}"/>
          </ac:spMkLst>
        </pc:spChg>
        <pc:spChg chg="mod">
          <ac:chgData name="Connor Xu" userId="a2fa5610-7f85-41f8-9630-afc02cec4fa9" providerId="ADAL" clId="{39D5BF1A-0EE9-496D-9199-853EEBDEDBD5}" dt="2024-09-06T01:11:55.383" v="1846"/>
          <ac:spMkLst>
            <pc:docMk/>
            <pc:sldMk cId="1673498922" sldId="2147471649"/>
            <ac:spMk id="3" creationId="{140EC108-D5C9-3E4E-4D9B-4F09A8C4F2B4}"/>
          </ac:spMkLst>
        </pc:spChg>
        <pc:spChg chg="add mod">
          <ac:chgData name="Connor Xu" userId="a2fa5610-7f85-41f8-9630-afc02cec4fa9" providerId="ADAL" clId="{39D5BF1A-0EE9-496D-9199-853EEBDEDBD5}" dt="2024-09-06T01:00:13.222" v="1477" actId="207"/>
          <ac:spMkLst>
            <pc:docMk/>
            <pc:sldMk cId="1673498922" sldId="2147471649"/>
            <ac:spMk id="4" creationId="{0DDAA73B-158A-15BE-6A90-02904E08006E}"/>
          </ac:spMkLst>
        </pc:spChg>
        <pc:spChg chg="add mod">
          <ac:chgData name="Connor Xu" userId="a2fa5610-7f85-41f8-9630-afc02cec4fa9" providerId="ADAL" clId="{39D5BF1A-0EE9-496D-9199-853EEBDEDBD5}" dt="2024-09-06T01:27:29.568" v="2506" actId="20577"/>
          <ac:spMkLst>
            <pc:docMk/>
            <pc:sldMk cId="1673498922" sldId="2147471649"/>
            <ac:spMk id="6" creationId="{B1CDB604-FD2D-DCA3-77B9-F6FD448B066C}"/>
          </ac:spMkLst>
        </pc:spChg>
        <pc:spChg chg="mod">
          <ac:chgData name="Connor Xu" userId="a2fa5610-7f85-41f8-9630-afc02cec4fa9" providerId="ADAL" clId="{39D5BF1A-0EE9-496D-9199-853EEBDEDBD5}" dt="2024-09-06T01:00:47.515" v="1486"/>
          <ac:spMkLst>
            <pc:docMk/>
            <pc:sldMk cId="1673498922" sldId="2147471649"/>
            <ac:spMk id="9" creationId="{62B5ABCA-8B1A-B80C-36C7-5C02E18D6571}"/>
          </ac:spMkLst>
        </pc:spChg>
        <pc:spChg chg="mod">
          <ac:chgData name="Connor Xu" userId="a2fa5610-7f85-41f8-9630-afc02cec4fa9" providerId="ADAL" clId="{39D5BF1A-0EE9-496D-9199-853EEBDEDBD5}" dt="2024-09-06T01:00:47.515" v="1486"/>
          <ac:spMkLst>
            <pc:docMk/>
            <pc:sldMk cId="1673498922" sldId="2147471649"/>
            <ac:spMk id="10" creationId="{15005363-3D7E-698F-692E-8D982812B046}"/>
          </ac:spMkLst>
        </pc:spChg>
        <pc:spChg chg="mod">
          <ac:chgData name="Connor Xu" userId="a2fa5610-7f85-41f8-9630-afc02cec4fa9" providerId="ADAL" clId="{39D5BF1A-0EE9-496D-9199-853EEBDEDBD5}" dt="2024-09-06T01:00:47.515" v="1486"/>
          <ac:spMkLst>
            <pc:docMk/>
            <pc:sldMk cId="1673498922" sldId="2147471649"/>
            <ac:spMk id="11" creationId="{8D5A89A0-5E6A-7805-7DB7-7ACC47C762D6}"/>
          </ac:spMkLst>
        </pc:spChg>
        <pc:spChg chg="mod">
          <ac:chgData name="Connor Xu" userId="a2fa5610-7f85-41f8-9630-afc02cec4fa9" providerId="ADAL" clId="{39D5BF1A-0EE9-496D-9199-853EEBDEDBD5}" dt="2024-09-06T01:00:47.515" v="1486"/>
          <ac:spMkLst>
            <pc:docMk/>
            <pc:sldMk cId="1673498922" sldId="2147471649"/>
            <ac:spMk id="12" creationId="{CEDF269C-FD81-9731-79F5-30E1CD4B10D6}"/>
          </ac:spMkLst>
        </pc:spChg>
        <pc:spChg chg="mod">
          <ac:chgData name="Connor Xu" userId="a2fa5610-7f85-41f8-9630-afc02cec4fa9" providerId="ADAL" clId="{39D5BF1A-0EE9-496D-9199-853EEBDEDBD5}" dt="2024-09-06T01:00:47.515" v="1486"/>
          <ac:spMkLst>
            <pc:docMk/>
            <pc:sldMk cId="1673498922" sldId="2147471649"/>
            <ac:spMk id="13" creationId="{D7D5DCB7-99E5-E6F1-CDE5-775D256D918D}"/>
          </ac:spMkLst>
        </pc:spChg>
        <pc:spChg chg="mod">
          <ac:chgData name="Connor Xu" userId="a2fa5610-7f85-41f8-9630-afc02cec4fa9" providerId="ADAL" clId="{39D5BF1A-0EE9-496D-9199-853EEBDEDBD5}" dt="2024-09-06T01:00:47.515" v="1486"/>
          <ac:spMkLst>
            <pc:docMk/>
            <pc:sldMk cId="1673498922" sldId="2147471649"/>
            <ac:spMk id="14" creationId="{564218D9-7C0B-BDC9-39F4-580A8A93547C}"/>
          </ac:spMkLst>
        </pc:spChg>
        <pc:spChg chg="mod">
          <ac:chgData name="Connor Xu" userId="a2fa5610-7f85-41f8-9630-afc02cec4fa9" providerId="ADAL" clId="{39D5BF1A-0EE9-496D-9199-853EEBDEDBD5}" dt="2024-09-06T01:00:47.515" v="1486"/>
          <ac:spMkLst>
            <pc:docMk/>
            <pc:sldMk cId="1673498922" sldId="2147471649"/>
            <ac:spMk id="15" creationId="{BA23BB7F-CA82-DE1C-E445-B7F55682E578}"/>
          </ac:spMkLst>
        </pc:spChg>
        <pc:spChg chg="mod">
          <ac:chgData name="Connor Xu" userId="a2fa5610-7f85-41f8-9630-afc02cec4fa9" providerId="ADAL" clId="{39D5BF1A-0EE9-496D-9199-853EEBDEDBD5}" dt="2024-09-06T01:00:47.515" v="1486"/>
          <ac:spMkLst>
            <pc:docMk/>
            <pc:sldMk cId="1673498922" sldId="2147471649"/>
            <ac:spMk id="16" creationId="{8CCF1B25-E06A-AA14-F3AA-B0F315CF6A0A}"/>
          </ac:spMkLst>
        </pc:spChg>
        <pc:spChg chg="mod">
          <ac:chgData name="Connor Xu" userId="a2fa5610-7f85-41f8-9630-afc02cec4fa9" providerId="ADAL" clId="{39D5BF1A-0EE9-496D-9199-853EEBDEDBD5}" dt="2024-09-06T01:00:47.515" v="1486"/>
          <ac:spMkLst>
            <pc:docMk/>
            <pc:sldMk cId="1673498922" sldId="2147471649"/>
            <ac:spMk id="17" creationId="{C13289D4-B7CD-5E9C-914E-E882AD9BD77D}"/>
          </ac:spMkLst>
        </pc:spChg>
        <pc:spChg chg="mod">
          <ac:chgData name="Connor Xu" userId="a2fa5610-7f85-41f8-9630-afc02cec4fa9" providerId="ADAL" clId="{39D5BF1A-0EE9-496D-9199-853EEBDEDBD5}" dt="2024-09-06T01:00:47.515" v="1486"/>
          <ac:spMkLst>
            <pc:docMk/>
            <pc:sldMk cId="1673498922" sldId="2147471649"/>
            <ac:spMk id="18" creationId="{5AA687AE-A4FB-545F-0CD7-C8E652F006D0}"/>
          </ac:spMkLst>
        </pc:spChg>
        <pc:spChg chg="mod">
          <ac:chgData name="Connor Xu" userId="a2fa5610-7f85-41f8-9630-afc02cec4fa9" providerId="ADAL" clId="{39D5BF1A-0EE9-496D-9199-853EEBDEDBD5}" dt="2024-09-06T01:00:47.515" v="1486"/>
          <ac:spMkLst>
            <pc:docMk/>
            <pc:sldMk cId="1673498922" sldId="2147471649"/>
            <ac:spMk id="19" creationId="{F9AB5CAF-85C1-3590-6F9F-09621C511B50}"/>
          </ac:spMkLst>
        </pc:spChg>
        <pc:spChg chg="add mod">
          <ac:chgData name="Connor Xu" userId="a2fa5610-7f85-41f8-9630-afc02cec4fa9" providerId="ADAL" clId="{39D5BF1A-0EE9-496D-9199-853EEBDEDBD5}" dt="2024-09-06T01:10:13.953" v="1844" actId="1036"/>
          <ac:spMkLst>
            <pc:docMk/>
            <pc:sldMk cId="1673498922" sldId="2147471649"/>
            <ac:spMk id="20" creationId="{0BCC5229-FC35-485C-8351-9766C2E4B144}"/>
          </ac:spMkLst>
        </pc:spChg>
        <pc:spChg chg="add mod">
          <ac:chgData name="Connor Xu" userId="a2fa5610-7f85-41f8-9630-afc02cec4fa9" providerId="ADAL" clId="{39D5BF1A-0EE9-496D-9199-853EEBDEDBD5}" dt="2024-09-06T01:10:13.953" v="1844" actId="1036"/>
          <ac:spMkLst>
            <pc:docMk/>
            <pc:sldMk cId="1673498922" sldId="2147471649"/>
            <ac:spMk id="22" creationId="{C4FF5D4F-B1A8-E502-D39D-E1B7EBC5F72C}"/>
          </ac:spMkLst>
        </pc:spChg>
        <pc:spChg chg="add mod">
          <ac:chgData name="Connor Xu" userId="a2fa5610-7f85-41f8-9630-afc02cec4fa9" providerId="ADAL" clId="{39D5BF1A-0EE9-496D-9199-853EEBDEDBD5}" dt="2024-09-06T01:10:13.953" v="1844" actId="1036"/>
          <ac:spMkLst>
            <pc:docMk/>
            <pc:sldMk cId="1673498922" sldId="2147471649"/>
            <ac:spMk id="23" creationId="{D57F2B4A-3C60-4634-9F28-FCDDD60F511D}"/>
          </ac:spMkLst>
        </pc:spChg>
        <pc:spChg chg="add mod">
          <ac:chgData name="Connor Xu" userId="a2fa5610-7f85-41f8-9630-afc02cec4fa9" providerId="ADAL" clId="{39D5BF1A-0EE9-496D-9199-853EEBDEDBD5}" dt="2024-09-06T01:10:13.953" v="1844" actId="1036"/>
          <ac:spMkLst>
            <pc:docMk/>
            <pc:sldMk cId="1673498922" sldId="2147471649"/>
            <ac:spMk id="24" creationId="{8F83E8D3-4432-ECDC-E396-9823E6AC84DE}"/>
          </ac:spMkLst>
        </pc:spChg>
        <pc:spChg chg="add mod">
          <ac:chgData name="Connor Xu" userId="a2fa5610-7f85-41f8-9630-afc02cec4fa9" providerId="ADAL" clId="{39D5BF1A-0EE9-496D-9199-853EEBDEDBD5}" dt="2024-09-06T01:10:13.953" v="1844" actId="1036"/>
          <ac:spMkLst>
            <pc:docMk/>
            <pc:sldMk cId="1673498922" sldId="2147471649"/>
            <ac:spMk id="35" creationId="{04DF6FCA-9208-CC56-2EC4-2F7F71804316}"/>
          </ac:spMkLst>
        </pc:spChg>
        <pc:spChg chg="add mod">
          <ac:chgData name="Connor Xu" userId="a2fa5610-7f85-41f8-9630-afc02cec4fa9" providerId="ADAL" clId="{39D5BF1A-0EE9-496D-9199-853EEBDEDBD5}" dt="2024-09-06T01:10:13.953" v="1844" actId="1036"/>
          <ac:spMkLst>
            <pc:docMk/>
            <pc:sldMk cId="1673498922" sldId="2147471649"/>
            <ac:spMk id="36" creationId="{3E9DCAB4-1F7D-91E2-D165-F0094B2474F8}"/>
          </ac:spMkLst>
        </pc:spChg>
        <pc:spChg chg="add mod">
          <ac:chgData name="Connor Xu" userId="a2fa5610-7f85-41f8-9630-afc02cec4fa9" providerId="ADAL" clId="{39D5BF1A-0EE9-496D-9199-853EEBDEDBD5}" dt="2024-09-06T01:10:13.953" v="1844" actId="1036"/>
          <ac:spMkLst>
            <pc:docMk/>
            <pc:sldMk cId="1673498922" sldId="2147471649"/>
            <ac:spMk id="41" creationId="{09D1363B-A698-822F-67A1-BD1CB723D16D}"/>
          </ac:spMkLst>
        </pc:spChg>
        <pc:spChg chg="add mod">
          <ac:chgData name="Connor Xu" userId="a2fa5610-7f85-41f8-9630-afc02cec4fa9" providerId="ADAL" clId="{39D5BF1A-0EE9-496D-9199-853EEBDEDBD5}" dt="2024-09-06T01:10:13.953" v="1844" actId="1036"/>
          <ac:spMkLst>
            <pc:docMk/>
            <pc:sldMk cId="1673498922" sldId="2147471649"/>
            <ac:spMk id="42" creationId="{8B12E40E-B593-4262-4AC0-4D3364BBC2D2}"/>
          </ac:spMkLst>
        </pc:spChg>
        <pc:spChg chg="add mod">
          <ac:chgData name="Connor Xu" userId="a2fa5610-7f85-41f8-9630-afc02cec4fa9" providerId="ADAL" clId="{39D5BF1A-0EE9-496D-9199-853EEBDEDBD5}" dt="2024-09-06T01:10:13.953" v="1844" actId="1036"/>
          <ac:spMkLst>
            <pc:docMk/>
            <pc:sldMk cId="1673498922" sldId="2147471649"/>
            <ac:spMk id="43" creationId="{3557777C-76EA-9017-08F3-375A117710D4}"/>
          </ac:spMkLst>
        </pc:spChg>
        <pc:spChg chg="add mod">
          <ac:chgData name="Connor Xu" userId="a2fa5610-7f85-41f8-9630-afc02cec4fa9" providerId="ADAL" clId="{39D5BF1A-0EE9-496D-9199-853EEBDEDBD5}" dt="2024-09-06T01:10:13.953" v="1844" actId="1036"/>
          <ac:spMkLst>
            <pc:docMk/>
            <pc:sldMk cId="1673498922" sldId="2147471649"/>
            <ac:spMk id="44" creationId="{BDFDB586-C695-D7D9-1C3E-FE40A8905C79}"/>
          </ac:spMkLst>
        </pc:spChg>
        <pc:spChg chg="add mod">
          <ac:chgData name="Connor Xu" userId="a2fa5610-7f85-41f8-9630-afc02cec4fa9" providerId="ADAL" clId="{39D5BF1A-0EE9-496D-9199-853EEBDEDBD5}" dt="2024-09-06T01:10:13.953" v="1844" actId="1036"/>
          <ac:spMkLst>
            <pc:docMk/>
            <pc:sldMk cId="1673498922" sldId="2147471649"/>
            <ac:spMk id="45" creationId="{DCF3F03A-FA77-0E3A-1E5A-84F189B2CC18}"/>
          </ac:spMkLst>
        </pc:spChg>
        <pc:spChg chg="add mod">
          <ac:chgData name="Connor Xu" userId="a2fa5610-7f85-41f8-9630-afc02cec4fa9" providerId="ADAL" clId="{39D5BF1A-0EE9-496D-9199-853EEBDEDBD5}" dt="2024-09-06T01:10:13.953" v="1844" actId="1036"/>
          <ac:spMkLst>
            <pc:docMk/>
            <pc:sldMk cId="1673498922" sldId="2147471649"/>
            <ac:spMk id="46" creationId="{E1CD18E0-1AF9-B94F-6773-3F66C67745E4}"/>
          </ac:spMkLst>
        </pc:spChg>
        <pc:spChg chg="add mod">
          <ac:chgData name="Connor Xu" userId="a2fa5610-7f85-41f8-9630-afc02cec4fa9" providerId="ADAL" clId="{39D5BF1A-0EE9-496D-9199-853EEBDEDBD5}" dt="2024-09-06T01:19:59.189" v="1939" actId="1076"/>
          <ac:spMkLst>
            <pc:docMk/>
            <pc:sldMk cId="1673498922" sldId="2147471649"/>
            <ac:spMk id="47" creationId="{84BC61FB-7895-1BD9-356D-7E257A58EF57}"/>
          </ac:spMkLst>
        </pc:spChg>
        <pc:spChg chg="add mod">
          <ac:chgData name="Connor Xu" userId="a2fa5610-7f85-41f8-9630-afc02cec4fa9" providerId="ADAL" clId="{39D5BF1A-0EE9-496D-9199-853EEBDEDBD5}" dt="2024-09-06T01:19:59.189" v="1939" actId="1076"/>
          <ac:spMkLst>
            <pc:docMk/>
            <pc:sldMk cId="1673498922" sldId="2147471649"/>
            <ac:spMk id="48" creationId="{0CE76EC4-080C-2E3D-9F2C-5CBCD37189B7}"/>
          </ac:spMkLst>
        </pc:spChg>
        <pc:spChg chg="add mod">
          <ac:chgData name="Connor Xu" userId="a2fa5610-7f85-41f8-9630-afc02cec4fa9" providerId="ADAL" clId="{39D5BF1A-0EE9-496D-9199-853EEBDEDBD5}" dt="2024-09-06T01:19:59.189" v="1939" actId="1076"/>
          <ac:spMkLst>
            <pc:docMk/>
            <pc:sldMk cId="1673498922" sldId="2147471649"/>
            <ac:spMk id="49" creationId="{411CE800-69B7-B9E6-02B5-653E7F40695D}"/>
          </ac:spMkLst>
        </pc:spChg>
        <pc:spChg chg="add mod">
          <ac:chgData name="Connor Xu" userId="a2fa5610-7f85-41f8-9630-afc02cec4fa9" providerId="ADAL" clId="{39D5BF1A-0EE9-496D-9199-853EEBDEDBD5}" dt="2024-09-06T01:31:43.389" v="3165" actId="948"/>
          <ac:spMkLst>
            <pc:docMk/>
            <pc:sldMk cId="1673498922" sldId="2147471649"/>
            <ac:spMk id="50" creationId="{2C244B14-7B7B-C94D-9805-0107E9D4ACC1}"/>
          </ac:spMkLst>
        </pc:spChg>
        <pc:spChg chg="add del mod">
          <ac:chgData name="Connor Xu" userId="a2fa5610-7f85-41f8-9630-afc02cec4fa9" providerId="ADAL" clId="{39D5BF1A-0EE9-496D-9199-853EEBDEDBD5}" dt="2024-09-06T01:23:22.864" v="2174" actId="478"/>
          <ac:spMkLst>
            <pc:docMk/>
            <pc:sldMk cId="1673498922" sldId="2147471649"/>
            <ac:spMk id="51" creationId="{1A22D58C-1F59-83B9-AC30-F70CE195F2EB}"/>
          </ac:spMkLst>
        </pc:spChg>
        <pc:spChg chg="add del mod">
          <ac:chgData name="Connor Xu" userId="a2fa5610-7f85-41f8-9630-afc02cec4fa9" providerId="ADAL" clId="{39D5BF1A-0EE9-496D-9199-853EEBDEDBD5}" dt="2024-09-06T01:23:22.864" v="2174" actId="478"/>
          <ac:spMkLst>
            <pc:docMk/>
            <pc:sldMk cId="1673498922" sldId="2147471649"/>
            <ac:spMk id="52" creationId="{98E2ACEC-F20B-6F4F-D320-E2B8B1431C0E}"/>
          </ac:spMkLst>
        </pc:spChg>
        <pc:spChg chg="add mod">
          <ac:chgData name="Connor Xu" userId="a2fa5610-7f85-41f8-9630-afc02cec4fa9" providerId="ADAL" clId="{39D5BF1A-0EE9-496D-9199-853EEBDEDBD5}" dt="2024-09-06T01:26:36.810" v="2483" actId="554"/>
          <ac:spMkLst>
            <pc:docMk/>
            <pc:sldMk cId="1673498922" sldId="2147471649"/>
            <ac:spMk id="53" creationId="{3016C8EF-AEA3-DC0B-7B53-059A044FE665}"/>
          </ac:spMkLst>
        </pc:spChg>
        <pc:spChg chg="add del mod">
          <ac:chgData name="Connor Xu" userId="a2fa5610-7f85-41f8-9630-afc02cec4fa9" providerId="ADAL" clId="{39D5BF1A-0EE9-496D-9199-853EEBDEDBD5}" dt="2024-09-06T01:23:22.864" v="2174" actId="478"/>
          <ac:spMkLst>
            <pc:docMk/>
            <pc:sldMk cId="1673498922" sldId="2147471649"/>
            <ac:spMk id="54" creationId="{6D74289C-E107-3287-3531-E81C36623ABD}"/>
          </ac:spMkLst>
        </pc:spChg>
        <pc:spChg chg="add del mod">
          <ac:chgData name="Connor Xu" userId="a2fa5610-7f85-41f8-9630-afc02cec4fa9" providerId="ADAL" clId="{39D5BF1A-0EE9-496D-9199-853EEBDEDBD5}" dt="2024-09-06T01:23:25.017" v="2175" actId="478"/>
          <ac:spMkLst>
            <pc:docMk/>
            <pc:sldMk cId="1673498922" sldId="2147471649"/>
            <ac:spMk id="55" creationId="{D172A3DB-CB7C-7D5B-5828-C0CA082E13EB}"/>
          </ac:spMkLst>
        </pc:spChg>
        <pc:spChg chg="add mod">
          <ac:chgData name="Connor Xu" userId="a2fa5610-7f85-41f8-9630-afc02cec4fa9" providerId="ADAL" clId="{39D5BF1A-0EE9-496D-9199-853EEBDEDBD5}" dt="2024-09-06T01:23:28.494" v="2178" actId="571"/>
          <ac:spMkLst>
            <pc:docMk/>
            <pc:sldMk cId="1673498922" sldId="2147471649"/>
            <ac:spMk id="56" creationId="{5C7C91B9-7D39-07B9-30C6-D587DF0982DA}"/>
          </ac:spMkLst>
        </pc:spChg>
        <pc:spChg chg="del">
          <ac:chgData name="Connor Xu" userId="a2fa5610-7f85-41f8-9630-afc02cec4fa9" providerId="ADAL" clId="{39D5BF1A-0EE9-496D-9199-853EEBDEDBD5}" dt="2024-09-06T00:59:45.583" v="1468" actId="478"/>
          <ac:spMkLst>
            <pc:docMk/>
            <pc:sldMk cId="1673498922" sldId="2147471649"/>
            <ac:spMk id="67" creationId="{800F51D6-CA61-A0A1-3794-7E280C4D7407}"/>
          </ac:spMkLst>
        </pc:spChg>
        <pc:spChg chg="del">
          <ac:chgData name="Connor Xu" userId="a2fa5610-7f85-41f8-9630-afc02cec4fa9" providerId="ADAL" clId="{39D5BF1A-0EE9-496D-9199-853EEBDEDBD5}" dt="2024-09-06T00:59:45.583" v="1468" actId="478"/>
          <ac:spMkLst>
            <pc:docMk/>
            <pc:sldMk cId="1673498922" sldId="2147471649"/>
            <ac:spMk id="68" creationId="{ED2D2531-9CD8-39BC-2F1A-E53E2AD43A73}"/>
          </ac:spMkLst>
        </pc:spChg>
        <pc:spChg chg="add mod">
          <ac:chgData name="Connor Xu" userId="a2fa5610-7f85-41f8-9630-afc02cec4fa9" providerId="ADAL" clId="{39D5BF1A-0EE9-496D-9199-853EEBDEDBD5}" dt="2024-09-06T01:31:10.484" v="3155" actId="948"/>
          <ac:spMkLst>
            <pc:docMk/>
            <pc:sldMk cId="1673498922" sldId="2147471649"/>
            <ac:spMk id="76" creationId="{611C71AF-194D-9506-DB2A-C3AFE85F6077}"/>
          </ac:spMkLst>
        </pc:spChg>
        <pc:spChg chg="add mod">
          <ac:chgData name="Connor Xu" userId="a2fa5610-7f85-41f8-9630-afc02cec4fa9" providerId="ADAL" clId="{39D5BF1A-0EE9-496D-9199-853EEBDEDBD5}" dt="2024-09-06T01:26:34.913" v="2482" actId="554"/>
          <ac:spMkLst>
            <pc:docMk/>
            <pc:sldMk cId="1673498922" sldId="2147471649"/>
            <ac:spMk id="77" creationId="{607BB3F3-0C8B-722E-5ED9-2DB7016E039E}"/>
          </ac:spMkLst>
        </pc:spChg>
        <pc:spChg chg="add mod">
          <ac:chgData name="Connor Xu" userId="a2fa5610-7f85-41f8-9630-afc02cec4fa9" providerId="ADAL" clId="{39D5BF1A-0EE9-496D-9199-853EEBDEDBD5}" dt="2024-09-06T01:31:03.205" v="3154" actId="948"/>
          <ac:spMkLst>
            <pc:docMk/>
            <pc:sldMk cId="1673498922" sldId="2147471649"/>
            <ac:spMk id="78" creationId="{8A71D197-0F7C-8277-F439-0D6954F289CD}"/>
          </ac:spMkLst>
        </pc:spChg>
        <pc:spChg chg="add mod">
          <ac:chgData name="Connor Xu" userId="a2fa5610-7f85-41f8-9630-afc02cec4fa9" providerId="ADAL" clId="{39D5BF1A-0EE9-496D-9199-853EEBDEDBD5}" dt="2024-09-06T01:26:32.993" v="2481" actId="554"/>
          <ac:spMkLst>
            <pc:docMk/>
            <pc:sldMk cId="1673498922" sldId="2147471649"/>
            <ac:spMk id="79" creationId="{9A6998B4-F61F-1B47-2B72-CD6F96B54E27}"/>
          </ac:spMkLst>
        </pc:spChg>
        <pc:grpChg chg="add del mod">
          <ac:chgData name="Connor Xu" userId="a2fa5610-7f85-41f8-9630-afc02cec4fa9" providerId="ADAL" clId="{39D5BF1A-0EE9-496D-9199-853EEBDEDBD5}" dt="2024-09-06T01:01:20.600" v="1490" actId="21"/>
          <ac:grpSpMkLst>
            <pc:docMk/>
            <pc:sldMk cId="1673498922" sldId="2147471649"/>
            <ac:grpSpMk id="7" creationId="{1C7EA93A-9459-2BD6-F034-78C3498D6FEE}"/>
          </ac:grpSpMkLst>
        </pc:grpChg>
        <pc:grpChg chg="del">
          <ac:chgData name="Connor Xu" userId="a2fa5610-7f85-41f8-9630-afc02cec4fa9" providerId="ADAL" clId="{39D5BF1A-0EE9-496D-9199-853EEBDEDBD5}" dt="2024-09-06T00:59:45.583" v="1468" actId="478"/>
          <ac:grpSpMkLst>
            <pc:docMk/>
            <pc:sldMk cId="1673498922" sldId="2147471649"/>
            <ac:grpSpMk id="75" creationId="{6738127F-27A1-195E-5EE6-0AE05A5B7329}"/>
          </ac:grpSpMkLst>
        </pc:grpChg>
        <pc:cxnChg chg="mod">
          <ac:chgData name="Connor Xu" userId="a2fa5610-7f85-41f8-9630-afc02cec4fa9" providerId="ADAL" clId="{39D5BF1A-0EE9-496D-9199-853EEBDEDBD5}" dt="2024-09-06T01:00:47.515" v="1486"/>
          <ac:cxnSpMkLst>
            <pc:docMk/>
            <pc:sldMk cId="1673498922" sldId="2147471649"/>
            <ac:cxnSpMk id="8" creationId="{D436AB4E-CC61-5EEA-BDDC-618F83C54650}"/>
          </ac:cxnSpMkLst>
        </pc:cxnChg>
        <pc:cxnChg chg="add mod">
          <ac:chgData name="Connor Xu" userId="a2fa5610-7f85-41f8-9630-afc02cec4fa9" providerId="ADAL" clId="{39D5BF1A-0EE9-496D-9199-853EEBDEDBD5}" dt="2024-09-06T01:10:13.953" v="1844" actId="1036"/>
          <ac:cxnSpMkLst>
            <pc:docMk/>
            <pc:sldMk cId="1673498922" sldId="2147471649"/>
            <ac:cxnSpMk id="21" creationId="{C5CA52A6-487D-B6BD-29BD-6E0905DAA2C8}"/>
          </ac:cxnSpMkLst>
        </pc:cxnChg>
      </pc:sldChg>
      <pc:sldChg chg="del">
        <pc:chgData name="Connor Xu" userId="a2fa5610-7f85-41f8-9630-afc02cec4fa9" providerId="ADAL" clId="{39D5BF1A-0EE9-496D-9199-853EEBDEDBD5}" dt="2024-09-06T02:59:53.876" v="6473" actId="47"/>
        <pc:sldMkLst>
          <pc:docMk/>
          <pc:sldMk cId="1234428817" sldId="2147471653"/>
        </pc:sldMkLst>
      </pc:sldChg>
      <pc:sldChg chg="del">
        <pc:chgData name="Connor Xu" userId="a2fa5610-7f85-41f8-9630-afc02cec4fa9" providerId="ADAL" clId="{39D5BF1A-0EE9-496D-9199-853EEBDEDBD5}" dt="2024-09-06T02:59:53.876" v="6473" actId="47"/>
        <pc:sldMkLst>
          <pc:docMk/>
          <pc:sldMk cId="3274022134" sldId="2147471656"/>
        </pc:sldMkLst>
      </pc:sldChg>
      <pc:sldChg chg="del">
        <pc:chgData name="Connor Xu" userId="a2fa5610-7f85-41f8-9630-afc02cec4fa9" providerId="ADAL" clId="{39D5BF1A-0EE9-496D-9199-853EEBDEDBD5}" dt="2024-09-06T02:59:53.876" v="6473" actId="47"/>
        <pc:sldMkLst>
          <pc:docMk/>
          <pc:sldMk cId="317380609" sldId="2147471681"/>
        </pc:sldMkLst>
      </pc:sldChg>
      <pc:sldChg chg="modSp mod">
        <pc:chgData name="Connor Xu" userId="a2fa5610-7f85-41f8-9630-afc02cec4fa9" providerId="ADAL" clId="{39D5BF1A-0EE9-496D-9199-853EEBDEDBD5}" dt="2024-09-06T00:31:21.121" v="62" actId="20577"/>
        <pc:sldMkLst>
          <pc:docMk/>
          <pc:sldMk cId="2109793814" sldId="2147471712"/>
        </pc:sldMkLst>
        <pc:spChg chg="mod">
          <ac:chgData name="Connor Xu" userId="a2fa5610-7f85-41f8-9630-afc02cec4fa9" providerId="ADAL" clId="{39D5BF1A-0EE9-496D-9199-853EEBDEDBD5}" dt="2024-09-06T00:31:21.121" v="62" actId="20577"/>
          <ac:spMkLst>
            <pc:docMk/>
            <pc:sldMk cId="2109793814" sldId="2147471712"/>
            <ac:spMk id="2" creationId="{3C42A615-E19E-F1ED-CA05-77A2773C1430}"/>
          </ac:spMkLst>
        </pc:spChg>
      </pc:sldChg>
      <pc:sldChg chg="addSp modSp new del mod">
        <pc:chgData name="Connor Xu" userId="a2fa5610-7f85-41f8-9630-afc02cec4fa9" providerId="ADAL" clId="{39D5BF1A-0EE9-496D-9199-853EEBDEDBD5}" dt="2024-09-06T02:31:47.703" v="4944" actId="47"/>
        <pc:sldMkLst>
          <pc:docMk/>
          <pc:sldMk cId="1079539277" sldId="2147471713"/>
        </pc:sldMkLst>
        <pc:spChg chg="mod">
          <ac:chgData name="Connor Xu" userId="a2fa5610-7f85-41f8-9630-afc02cec4fa9" providerId="ADAL" clId="{39D5BF1A-0EE9-496D-9199-853EEBDEDBD5}" dt="2024-09-06T00:49:13.128" v="749" actId="20577"/>
          <ac:spMkLst>
            <pc:docMk/>
            <pc:sldMk cId="1079539277" sldId="2147471713"/>
            <ac:spMk id="2" creationId="{102FD41F-B63A-8A79-1B64-FD2F918D97CB}"/>
          </ac:spMkLst>
        </pc:spChg>
        <pc:spChg chg="mod">
          <ac:chgData name="Connor Xu" userId="a2fa5610-7f85-41f8-9630-afc02cec4fa9" providerId="ADAL" clId="{39D5BF1A-0EE9-496D-9199-853EEBDEDBD5}" dt="2024-09-06T00:56:39.583" v="831" actId="14100"/>
          <ac:spMkLst>
            <pc:docMk/>
            <pc:sldMk cId="1079539277" sldId="2147471713"/>
            <ac:spMk id="3" creationId="{412C575D-9A1F-ED70-9C49-6D5769879D54}"/>
          </ac:spMkLst>
        </pc:spChg>
        <pc:spChg chg="mod">
          <ac:chgData name="Connor Xu" userId="a2fa5610-7f85-41f8-9630-afc02cec4fa9" providerId="ADAL" clId="{39D5BF1A-0EE9-496D-9199-853EEBDEDBD5}" dt="2024-09-06T00:52:36.242" v="750"/>
          <ac:spMkLst>
            <pc:docMk/>
            <pc:sldMk cId="1079539277" sldId="2147471713"/>
            <ac:spMk id="5" creationId="{814279F8-B7E7-5839-BEA3-5CE0F05253D3}"/>
          </ac:spMkLst>
        </pc:spChg>
        <pc:spChg chg="mod">
          <ac:chgData name="Connor Xu" userId="a2fa5610-7f85-41f8-9630-afc02cec4fa9" providerId="ADAL" clId="{39D5BF1A-0EE9-496D-9199-853EEBDEDBD5}" dt="2024-09-06T00:52:36.242" v="750"/>
          <ac:spMkLst>
            <pc:docMk/>
            <pc:sldMk cId="1079539277" sldId="2147471713"/>
            <ac:spMk id="7" creationId="{A0DBC379-CF61-D3A6-3873-96564A0495B0}"/>
          </ac:spMkLst>
        </pc:spChg>
        <pc:spChg chg="mod">
          <ac:chgData name="Connor Xu" userId="a2fa5610-7f85-41f8-9630-afc02cec4fa9" providerId="ADAL" clId="{39D5BF1A-0EE9-496D-9199-853EEBDEDBD5}" dt="2024-09-06T00:52:36.242" v="750"/>
          <ac:spMkLst>
            <pc:docMk/>
            <pc:sldMk cId="1079539277" sldId="2147471713"/>
            <ac:spMk id="8" creationId="{18152C94-E7AC-4679-2625-7E3962FC7826}"/>
          </ac:spMkLst>
        </pc:spChg>
        <pc:spChg chg="mod">
          <ac:chgData name="Connor Xu" userId="a2fa5610-7f85-41f8-9630-afc02cec4fa9" providerId="ADAL" clId="{39D5BF1A-0EE9-496D-9199-853EEBDEDBD5}" dt="2024-09-06T00:52:36.242" v="750"/>
          <ac:spMkLst>
            <pc:docMk/>
            <pc:sldMk cId="1079539277" sldId="2147471713"/>
            <ac:spMk id="9" creationId="{1A856471-3FCF-F627-678F-52AADAB563EC}"/>
          </ac:spMkLst>
        </pc:spChg>
        <pc:spChg chg="mod">
          <ac:chgData name="Connor Xu" userId="a2fa5610-7f85-41f8-9630-afc02cec4fa9" providerId="ADAL" clId="{39D5BF1A-0EE9-496D-9199-853EEBDEDBD5}" dt="2024-09-06T00:52:36.242" v="750"/>
          <ac:spMkLst>
            <pc:docMk/>
            <pc:sldMk cId="1079539277" sldId="2147471713"/>
            <ac:spMk id="10" creationId="{6FDA0066-9D0E-B7E2-72ED-6C21FF0F5BD4}"/>
          </ac:spMkLst>
        </pc:spChg>
        <pc:spChg chg="mod">
          <ac:chgData name="Connor Xu" userId="a2fa5610-7f85-41f8-9630-afc02cec4fa9" providerId="ADAL" clId="{39D5BF1A-0EE9-496D-9199-853EEBDEDBD5}" dt="2024-09-06T00:52:36.242" v="750"/>
          <ac:spMkLst>
            <pc:docMk/>
            <pc:sldMk cId="1079539277" sldId="2147471713"/>
            <ac:spMk id="11" creationId="{E8DF74AE-008A-7139-3481-CDEB08F7FCAE}"/>
          </ac:spMkLst>
        </pc:spChg>
        <pc:spChg chg="mod">
          <ac:chgData name="Connor Xu" userId="a2fa5610-7f85-41f8-9630-afc02cec4fa9" providerId="ADAL" clId="{39D5BF1A-0EE9-496D-9199-853EEBDEDBD5}" dt="2024-09-06T00:52:36.242" v="750"/>
          <ac:spMkLst>
            <pc:docMk/>
            <pc:sldMk cId="1079539277" sldId="2147471713"/>
            <ac:spMk id="12" creationId="{67E1FA6F-6E9D-315E-42F8-9C471FF47F82}"/>
          </ac:spMkLst>
        </pc:spChg>
        <pc:spChg chg="mod">
          <ac:chgData name="Connor Xu" userId="a2fa5610-7f85-41f8-9630-afc02cec4fa9" providerId="ADAL" clId="{39D5BF1A-0EE9-496D-9199-853EEBDEDBD5}" dt="2024-09-06T00:52:36.242" v="750"/>
          <ac:spMkLst>
            <pc:docMk/>
            <pc:sldMk cId="1079539277" sldId="2147471713"/>
            <ac:spMk id="13" creationId="{0FBB2E68-0A33-7FC8-D1DA-90C4FFCBBBB8}"/>
          </ac:spMkLst>
        </pc:spChg>
        <pc:spChg chg="mod">
          <ac:chgData name="Connor Xu" userId="a2fa5610-7f85-41f8-9630-afc02cec4fa9" providerId="ADAL" clId="{39D5BF1A-0EE9-496D-9199-853EEBDEDBD5}" dt="2024-09-06T00:52:36.242" v="750"/>
          <ac:spMkLst>
            <pc:docMk/>
            <pc:sldMk cId="1079539277" sldId="2147471713"/>
            <ac:spMk id="14" creationId="{214D1CCC-B746-AA60-AED7-C12AB19D181D}"/>
          </ac:spMkLst>
        </pc:spChg>
        <pc:spChg chg="mod">
          <ac:chgData name="Connor Xu" userId="a2fa5610-7f85-41f8-9630-afc02cec4fa9" providerId="ADAL" clId="{39D5BF1A-0EE9-496D-9199-853EEBDEDBD5}" dt="2024-09-06T00:52:36.242" v="750"/>
          <ac:spMkLst>
            <pc:docMk/>
            <pc:sldMk cId="1079539277" sldId="2147471713"/>
            <ac:spMk id="15" creationId="{8A90C338-6372-354D-7F76-05E09F133605}"/>
          </ac:spMkLst>
        </pc:spChg>
        <pc:spChg chg="mod">
          <ac:chgData name="Connor Xu" userId="a2fa5610-7f85-41f8-9630-afc02cec4fa9" providerId="ADAL" clId="{39D5BF1A-0EE9-496D-9199-853EEBDEDBD5}" dt="2024-09-06T00:52:36.242" v="750"/>
          <ac:spMkLst>
            <pc:docMk/>
            <pc:sldMk cId="1079539277" sldId="2147471713"/>
            <ac:spMk id="16" creationId="{8AB63637-D013-76FF-781D-9B50AC969AB1}"/>
          </ac:spMkLst>
        </pc:spChg>
        <pc:spChg chg="mod">
          <ac:chgData name="Connor Xu" userId="a2fa5610-7f85-41f8-9630-afc02cec4fa9" providerId="ADAL" clId="{39D5BF1A-0EE9-496D-9199-853EEBDEDBD5}" dt="2024-09-06T00:52:36.242" v="750"/>
          <ac:spMkLst>
            <pc:docMk/>
            <pc:sldMk cId="1079539277" sldId="2147471713"/>
            <ac:spMk id="17" creationId="{0628100D-DE87-0A33-3752-1A90A18420D2}"/>
          </ac:spMkLst>
        </pc:spChg>
        <pc:spChg chg="mod">
          <ac:chgData name="Connor Xu" userId="a2fa5610-7f85-41f8-9630-afc02cec4fa9" providerId="ADAL" clId="{39D5BF1A-0EE9-496D-9199-853EEBDEDBD5}" dt="2024-09-06T00:52:37.807" v="751"/>
          <ac:spMkLst>
            <pc:docMk/>
            <pc:sldMk cId="1079539277" sldId="2147471713"/>
            <ac:spMk id="19" creationId="{3E0B9852-BE29-F622-56B7-4595D97E1E78}"/>
          </ac:spMkLst>
        </pc:spChg>
        <pc:spChg chg="mod">
          <ac:chgData name="Connor Xu" userId="a2fa5610-7f85-41f8-9630-afc02cec4fa9" providerId="ADAL" clId="{39D5BF1A-0EE9-496D-9199-853EEBDEDBD5}" dt="2024-09-06T00:52:37.807" v="751"/>
          <ac:spMkLst>
            <pc:docMk/>
            <pc:sldMk cId="1079539277" sldId="2147471713"/>
            <ac:spMk id="21" creationId="{6A30D526-5898-293C-C7DC-ABCA3AC51F15}"/>
          </ac:spMkLst>
        </pc:spChg>
        <pc:spChg chg="mod">
          <ac:chgData name="Connor Xu" userId="a2fa5610-7f85-41f8-9630-afc02cec4fa9" providerId="ADAL" clId="{39D5BF1A-0EE9-496D-9199-853EEBDEDBD5}" dt="2024-09-06T00:52:37.807" v="751"/>
          <ac:spMkLst>
            <pc:docMk/>
            <pc:sldMk cId="1079539277" sldId="2147471713"/>
            <ac:spMk id="22" creationId="{5C7023A7-80A9-D7EF-2467-07DC14DA9383}"/>
          </ac:spMkLst>
        </pc:spChg>
        <pc:spChg chg="mod">
          <ac:chgData name="Connor Xu" userId="a2fa5610-7f85-41f8-9630-afc02cec4fa9" providerId="ADAL" clId="{39D5BF1A-0EE9-496D-9199-853EEBDEDBD5}" dt="2024-09-06T00:52:37.807" v="751"/>
          <ac:spMkLst>
            <pc:docMk/>
            <pc:sldMk cId="1079539277" sldId="2147471713"/>
            <ac:spMk id="23" creationId="{307A5B47-761F-BB3E-C2C6-C3F6C74507A2}"/>
          </ac:spMkLst>
        </pc:spChg>
        <pc:spChg chg="mod">
          <ac:chgData name="Connor Xu" userId="a2fa5610-7f85-41f8-9630-afc02cec4fa9" providerId="ADAL" clId="{39D5BF1A-0EE9-496D-9199-853EEBDEDBD5}" dt="2024-09-06T00:52:37.807" v="751"/>
          <ac:spMkLst>
            <pc:docMk/>
            <pc:sldMk cId="1079539277" sldId="2147471713"/>
            <ac:spMk id="24" creationId="{9ED781DA-0F2D-95D9-56F6-6C6AE4647A67}"/>
          </ac:spMkLst>
        </pc:spChg>
        <pc:spChg chg="mod">
          <ac:chgData name="Connor Xu" userId="a2fa5610-7f85-41f8-9630-afc02cec4fa9" providerId="ADAL" clId="{39D5BF1A-0EE9-496D-9199-853EEBDEDBD5}" dt="2024-09-06T00:52:37.807" v="751"/>
          <ac:spMkLst>
            <pc:docMk/>
            <pc:sldMk cId="1079539277" sldId="2147471713"/>
            <ac:spMk id="25" creationId="{154705FA-F112-FD5F-F26E-51688108F7B1}"/>
          </ac:spMkLst>
        </pc:spChg>
        <pc:spChg chg="mod">
          <ac:chgData name="Connor Xu" userId="a2fa5610-7f85-41f8-9630-afc02cec4fa9" providerId="ADAL" clId="{39D5BF1A-0EE9-496D-9199-853EEBDEDBD5}" dt="2024-09-06T00:52:37.807" v="751"/>
          <ac:spMkLst>
            <pc:docMk/>
            <pc:sldMk cId="1079539277" sldId="2147471713"/>
            <ac:spMk id="26" creationId="{F36EC062-0676-53F9-9558-06FEE2EA36FF}"/>
          </ac:spMkLst>
        </pc:spChg>
        <pc:spChg chg="mod">
          <ac:chgData name="Connor Xu" userId="a2fa5610-7f85-41f8-9630-afc02cec4fa9" providerId="ADAL" clId="{39D5BF1A-0EE9-496D-9199-853EEBDEDBD5}" dt="2024-09-06T00:52:37.807" v="751"/>
          <ac:spMkLst>
            <pc:docMk/>
            <pc:sldMk cId="1079539277" sldId="2147471713"/>
            <ac:spMk id="27" creationId="{B72F7532-CF64-4DE4-3625-DF005F0E0885}"/>
          </ac:spMkLst>
        </pc:spChg>
        <pc:spChg chg="mod">
          <ac:chgData name="Connor Xu" userId="a2fa5610-7f85-41f8-9630-afc02cec4fa9" providerId="ADAL" clId="{39D5BF1A-0EE9-496D-9199-853EEBDEDBD5}" dt="2024-09-06T00:52:37.807" v="751"/>
          <ac:spMkLst>
            <pc:docMk/>
            <pc:sldMk cId="1079539277" sldId="2147471713"/>
            <ac:spMk id="28" creationId="{5F6FD486-0C47-F9C0-1E57-38F6C1A42410}"/>
          </ac:spMkLst>
        </pc:spChg>
        <pc:spChg chg="mod">
          <ac:chgData name="Connor Xu" userId="a2fa5610-7f85-41f8-9630-afc02cec4fa9" providerId="ADAL" clId="{39D5BF1A-0EE9-496D-9199-853EEBDEDBD5}" dt="2024-09-06T00:52:37.807" v="751"/>
          <ac:spMkLst>
            <pc:docMk/>
            <pc:sldMk cId="1079539277" sldId="2147471713"/>
            <ac:spMk id="29" creationId="{485B73A2-B724-E126-A1C5-EDB59AEAE70E}"/>
          </ac:spMkLst>
        </pc:spChg>
        <pc:spChg chg="mod">
          <ac:chgData name="Connor Xu" userId="a2fa5610-7f85-41f8-9630-afc02cec4fa9" providerId="ADAL" clId="{39D5BF1A-0EE9-496D-9199-853EEBDEDBD5}" dt="2024-09-06T00:52:37.807" v="751"/>
          <ac:spMkLst>
            <pc:docMk/>
            <pc:sldMk cId="1079539277" sldId="2147471713"/>
            <ac:spMk id="30" creationId="{228ED387-30EE-017F-1584-A94412E70D9C}"/>
          </ac:spMkLst>
        </pc:spChg>
        <pc:spChg chg="mod">
          <ac:chgData name="Connor Xu" userId="a2fa5610-7f85-41f8-9630-afc02cec4fa9" providerId="ADAL" clId="{39D5BF1A-0EE9-496D-9199-853EEBDEDBD5}" dt="2024-09-06T00:52:37.807" v="751"/>
          <ac:spMkLst>
            <pc:docMk/>
            <pc:sldMk cId="1079539277" sldId="2147471713"/>
            <ac:spMk id="31" creationId="{1A20029A-994A-95A3-C8BC-A35A5A71FAEC}"/>
          </ac:spMkLst>
        </pc:spChg>
        <pc:spChg chg="mod">
          <ac:chgData name="Connor Xu" userId="a2fa5610-7f85-41f8-9630-afc02cec4fa9" providerId="ADAL" clId="{39D5BF1A-0EE9-496D-9199-853EEBDEDBD5}" dt="2024-09-06T00:52:48.858" v="752"/>
          <ac:spMkLst>
            <pc:docMk/>
            <pc:sldMk cId="1079539277" sldId="2147471713"/>
            <ac:spMk id="33" creationId="{EC52FC86-6A32-32F0-2A1B-D580D6836033}"/>
          </ac:spMkLst>
        </pc:spChg>
        <pc:spChg chg="mod">
          <ac:chgData name="Connor Xu" userId="a2fa5610-7f85-41f8-9630-afc02cec4fa9" providerId="ADAL" clId="{39D5BF1A-0EE9-496D-9199-853EEBDEDBD5}" dt="2024-09-06T00:52:48.858" v="752"/>
          <ac:spMkLst>
            <pc:docMk/>
            <pc:sldMk cId="1079539277" sldId="2147471713"/>
            <ac:spMk id="35" creationId="{5D148FEF-0A99-6F89-C114-59D56970DF99}"/>
          </ac:spMkLst>
        </pc:spChg>
        <pc:spChg chg="mod">
          <ac:chgData name="Connor Xu" userId="a2fa5610-7f85-41f8-9630-afc02cec4fa9" providerId="ADAL" clId="{39D5BF1A-0EE9-496D-9199-853EEBDEDBD5}" dt="2024-09-06T00:52:48.858" v="752"/>
          <ac:spMkLst>
            <pc:docMk/>
            <pc:sldMk cId="1079539277" sldId="2147471713"/>
            <ac:spMk id="36" creationId="{FFA8E422-A84C-C203-5582-392C44165F55}"/>
          </ac:spMkLst>
        </pc:spChg>
        <pc:spChg chg="mod">
          <ac:chgData name="Connor Xu" userId="a2fa5610-7f85-41f8-9630-afc02cec4fa9" providerId="ADAL" clId="{39D5BF1A-0EE9-496D-9199-853EEBDEDBD5}" dt="2024-09-06T00:52:48.858" v="752"/>
          <ac:spMkLst>
            <pc:docMk/>
            <pc:sldMk cId="1079539277" sldId="2147471713"/>
            <ac:spMk id="37" creationId="{3404A541-9E0A-56A0-81F1-514D25469342}"/>
          </ac:spMkLst>
        </pc:spChg>
        <pc:spChg chg="mod">
          <ac:chgData name="Connor Xu" userId="a2fa5610-7f85-41f8-9630-afc02cec4fa9" providerId="ADAL" clId="{39D5BF1A-0EE9-496D-9199-853EEBDEDBD5}" dt="2024-09-06T00:52:48.858" v="752"/>
          <ac:spMkLst>
            <pc:docMk/>
            <pc:sldMk cId="1079539277" sldId="2147471713"/>
            <ac:spMk id="38" creationId="{88E31EC6-68F6-885D-3506-5BF614B0C246}"/>
          </ac:spMkLst>
        </pc:spChg>
        <pc:spChg chg="mod">
          <ac:chgData name="Connor Xu" userId="a2fa5610-7f85-41f8-9630-afc02cec4fa9" providerId="ADAL" clId="{39D5BF1A-0EE9-496D-9199-853EEBDEDBD5}" dt="2024-09-06T00:52:48.858" v="752"/>
          <ac:spMkLst>
            <pc:docMk/>
            <pc:sldMk cId="1079539277" sldId="2147471713"/>
            <ac:spMk id="39" creationId="{D775D379-9992-4823-28E7-9520CD372849}"/>
          </ac:spMkLst>
        </pc:spChg>
        <pc:spChg chg="mod">
          <ac:chgData name="Connor Xu" userId="a2fa5610-7f85-41f8-9630-afc02cec4fa9" providerId="ADAL" clId="{39D5BF1A-0EE9-496D-9199-853EEBDEDBD5}" dt="2024-09-06T00:52:48.858" v="752"/>
          <ac:spMkLst>
            <pc:docMk/>
            <pc:sldMk cId="1079539277" sldId="2147471713"/>
            <ac:spMk id="40" creationId="{0AA9CFA0-1F45-E16E-90E2-C771EE9E0CEC}"/>
          </ac:spMkLst>
        </pc:spChg>
        <pc:spChg chg="mod">
          <ac:chgData name="Connor Xu" userId="a2fa5610-7f85-41f8-9630-afc02cec4fa9" providerId="ADAL" clId="{39D5BF1A-0EE9-496D-9199-853EEBDEDBD5}" dt="2024-09-06T00:52:48.858" v="752"/>
          <ac:spMkLst>
            <pc:docMk/>
            <pc:sldMk cId="1079539277" sldId="2147471713"/>
            <ac:spMk id="41" creationId="{AB8044CA-DE52-50C7-5FC8-6C77BBEAD089}"/>
          </ac:spMkLst>
        </pc:spChg>
        <pc:spChg chg="mod">
          <ac:chgData name="Connor Xu" userId="a2fa5610-7f85-41f8-9630-afc02cec4fa9" providerId="ADAL" clId="{39D5BF1A-0EE9-496D-9199-853EEBDEDBD5}" dt="2024-09-06T00:52:48.858" v="752"/>
          <ac:spMkLst>
            <pc:docMk/>
            <pc:sldMk cId="1079539277" sldId="2147471713"/>
            <ac:spMk id="42" creationId="{49210683-D28A-8524-64D2-0F82B644729A}"/>
          </ac:spMkLst>
        </pc:spChg>
        <pc:spChg chg="mod">
          <ac:chgData name="Connor Xu" userId="a2fa5610-7f85-41f8-9630-afc02cec4fa9" providerId="ADAL" clId="{39D5BF1A-0EE9-496D-9199-853EEBDEDBD5}" dt="2024-09-06T00:52:48.858" v="752"/>
          <ac:spMkLst>
            <pc:docMk/>
            <pc:sldMk cId="1079539277" sldId="2147471713"/>
            <ac:spMk id="43" creationId="{DB34BBDD-4E11-AB00-7B58-7A3A89EB045E}"/>
          </ac:spMkLst>
        </pc:spChg>
        <pc:spChg chg="mod">
          <ac:chgData name="Connor Xu" userId="a2fa5610-7f85-41f8-9630-afc02cec4fa9" providerId="ADAL" clId="{39D5BF1A-0EE9-496D-9199-853EEBDEDBD5}" dt="2024-09-06T00:52:48.858" v="752"/>
          <ac:spMkLst>
            <pc:docMk/>
            <pc:sldMk cId="1079539277" sldId="2147471713"/>
            <ac:spMk id="44" creationId="{A0B123DC-D2AC-27BB-69DB-FF5B8F17080E}"/>
          </ac:spMkLst>
        </pc:spChg>
        <pc:spChg chg="mod">
          <ac:chgData name="Connor Xu" userId="a2fa5610-7f85-41f8-9630-afc02cec4fa9" providerId="ADAL" clId="{39D5BF1A-0EE9-496D-9199-853EEBDEDBD5}" dt="2024-09-06T00:52:48.858" v="752"/>
          <ac:spMkLst>
            <pc:docMk/>
            <pc:sldMk cId="1079539277" sldId="2147471713"/>
            <ac:spMk id="45" creationId="{9E2DEF3C-1199-9795-7B9C-9960CAC61939}"/>
          </ac:spMkLst>
        </pc:spChg>
        <pc:spChg chg="add mod">
          <ac:chgData name="Connor Xu" userId="a2fa5610-7f85-41f8-9630-afc02cec4fa9" providerId="ADAL" clId="{39D5BF1A-0EE9-496D-9199-853EEBDEDBD5}" dt="2024-09-06T00:56:35.406" v="830" actId="1076"/>
          <ac:spMkLst>
            <pc:docMk/>
            <pc:sldMk cId="1079539277" sldId="2147471713"/>
            <ac:spMk id="46" creationId="{A56927C8-49C8-60D8-80FC-7A8E83BC9369}"/>
          </ac:spMkLst>
        </pc:spChg>
        <pc:spChg chg="add">
          <ac:chgData name="Connor Xu" userId="a2fa5610-7f85-41f8-9630-afc02cec4fa9" providerId="ADAL" clId="{39D5BF1A-0EE9-496D-9199-853EEBDEDBD5}" dt="2024-09-06T00:55:23.093" v="829"/>
          <ac:spMkLst>
            <pc:docMk/>
            <pc:sldMk cId="1079539277" sldId="2147471713"/>
            <ac:spMk id="47" creationId="{018CEA03-4D75-D476-F8A0-E58B6AF5C722}"/>
          </ac:spMkLst>
        </pc:spChg>
        <pc:spChg chg="add mod">
          <ac:chgData name="Connor Xu" userId="a2fa5610-7f85-41f8-9630-afc02cec4fa9" providerId="ADAL" clId="{39D5BF1A-0EE9-496D-9199-853EEBDEDBD5}" dt="2024-09-06T00:57:59.394" v="1459" actId="20577"/>
          <ac:spMkLst>
            <pc:docMk/>
            <pc:sldMk cId="1079539277" sldId="2147471713"/>
            <ac:spMk id="48" creationId="{0F556E3C-2F8E-9A8C-FE09-795269EE552A}"/>
          </ac:spMkLst>
        </pc:spChg>
        <pc:spChg chg="mod">
          <ac:chgData name="Connor Xu" userId="a2fa5610-7f85-41f8-9630-afc02cec4fa9" providerId="ADAL" clId="{39D5BF1A-0EE9-496D-9199-853EEBDEDBD5}" dt="2024-09-06T00:58:44.143" v="1460"/>
          <ac:spMkLst>
            <pc:docMk/>
            <pc:sldMk cId="1079539277" sldId="2147471713"/>
            <ac:spMk id="50" creationId="{4E61B624-F6A7-A124-0B86-D69576A14C88}"/>
          </ac:spMkLst>
        </pc:spChg>
        <pc:spChg chg="mod">
          <ac:chgData name="Connor Xu" userId="a2fa5610-7f85-41f8-9630-afc02cec4fa9" providerId="ADAL" clId="{39D5BF1A-0EE9-496D-9199-853EEBDEDBD5}" dt="2024-09-06T00:58:44.143" v="1460"/>
          <ac:spMkLst>
            <pc:docMk/>
            <pc:sldMk cId="1079539277" sldId="2147471713"/>
            <ac:spMk id="52" creationId="{504F5EF9-574F-2BAF-D9BF-2311B8BF1C9E}"/>
          </ac:spMkLst>
        </pc:spChg>
        <pc:spChg chg="mod">
          <ac:chgData name="Connor Xu" userId="a2fa5610-7f85-41f8-9630-afc02cec4fa9" providerId="ADAL" clId="{39D5BF1A-0EE9-496D-9199-853EEBDEDBD5}" dt="2024-09-06T00:58:44.143" v="1460"/>
          <ac:spMkLst>
            <pc:docMk/>
            <pc:sldMk cId="1079539277" sldId="2147471713"/>
            <ac:spMk id="53" creationId="{79EE899E-A454-BC99-A8CD-FB9838148DBC}"/>
          </ac:spMkLst>
        </pc:spChg>
        <pc:spChg chg="mod">
          <ac:chgData name="Connor Xu" userId="a2fa5610-7f85-41f8-9630-afc02cec4fa9" providerId="ADAL" clId="{39D5BF1A-0EE9-496D-9199-853EEBDEDBD5}" dt="2024-09-06T00:58:44.143" v="1460"/>
          <ac:spMkLst>
            <pc:docMk/>
            <pc:sldMk cId="1079539277" sldId="2147471713"/>
            <ac:spMk id="54" creationId="{F6C42162-C39E-8F81-B3E7-AA4CC5314A75}"/>
          </ac:spMkLst>
        </pc:spChg>
        <pc:spChg chg="mod">
          <ac:chgData name="Connor Xu" userId="a2fa5610-7f85-41f8-9630-afc02cec4fa9" providerId="ADAL" clId="{39D5BF1A-0EE9-496D-9199-853EEBDEDBD5}" dt="2024-09-06T00:58:44.143" v="1460"/>
          <ac:spMkLst>
            <pc:docMk/>
            <pc:sldMk cId="1079539277" sldId="2147471713"/>
            <ac:spMk id="55" creationId="{85634AED-DB1E-A38E-3B40-23BF884BDB24}"/>
          </ac:spMkLst>
        </pc:spChg>
        <pc:spChg chg="mod">
          <ac:chgData name="Connor Xu" userId="a2fa5610-7f85-41f8-9630-afc02cec4fa9" providerId="ADAL" clId="{39D5BF1A-0EE9-496D-9199-853EEBDEDBD5}" dt="2024-09-06T00:58:44.143" v="1460"/>
          <ac:spMkLst>
            <pc:docMk/>
            <pc:sldMk cId="1079539277" sldId="2147471713"/>
            <ac:spMk id="56" creationId="{2079F472-DB07-65F5-4280-6FB4033E7F28}"/>
          </ac:spMkLst>
        </pc:spChg>
        <pc:spChg chg="mod">
          <ac:chgData name="Connor Xu" userId="a2fa5610-7f85-41f8-9630-afc02cec4fa9" providerId="ADAL" clId="{39D5BF1A-0EE9-496D-9199-853EEBDEDBD5}" dt="2024-09-06T00:58:44.143" v="1460"/>
          <ac:spMkLst>
            <pc:docMk/>
            <pc:sldMk cId="1079539277" sldId="2147471713"/>
            <ac:spMk id="57" creationId="{EF6067CE-3336-CFB0-0C0A-1856CAD14793}"/>
          </ac:spMkLst>
        </pc:spChg>
        <pc:spChg chg="mod">
          <ac:chgData name="Connor Xu" userId="a2fa5610-7f85-41f8-9630-afc02cec4fa9" providerId="ADAL" clId="{39D5BF1A-0EE9-496D-9199-853EEBDEDBD5}" dt="2024-09-06T00:58:44.143" v="1460"/>
          <ac:spMkLst>
            <pc:docMk/>
            <pc:sldMk cId="1079539277" sldId="2147471713"/>
            <ac:spMk id="58" creationId="{16408287-5E81-9F44-D67A-FE21B8DF222A}"/>
          </ac:spMkLst>
        </pc:spChg>
        <pc:spChg chg="mod">
          <ac:chgData name="Connor Xu" userId="a2fa5610-7f85-41f8-9630-afc02cec4fa9" providerId="ADAL" clId="{39D5BF1A-0EE9-496D-9199-853EEBDEDBD5}" dt="2024-09-06T00:58:44.143" v="1460"/>
          <ac:spMkLst>
            <pc:docMk/>
            <pc:sldMk cId="1079539277" sldId="2147471713"/>
            <ac:spMk id="59" creationId="{BCF0512C-3A50-C971-05A5-51953F137442}"/>
          </ac:spMkLst>
        </pc:spChg>
        <pc:spChg chg="mod">
          <ac:chgData name="Connor Xu" userId="a2fa5610-7f85-41f8-9630-afc02cec4fa9" providerId="ADAL" clId="{39D5BF1A-0EE9-496D-9199-853EEBDEDBD5}" dt="2024-09-06T00:58:44.143" v="1460"/>
          <ac:spMkLst>
            <pc:docMk/>
            <pc:sldMk cId="1079539277" sldId="2147471713"/>
            <ac:spMk id="60" creationId="{15329546-38BF-46E5-F403-E3AED9680584}"/>
          </ac:spMkLst>
        </pc:spChg>
        <pc:spChg chg="mod">
          <ac:chgData name="Connor Xu" userId="a2fa5610-7f85-41f8-9630-afc02cec4fa9" providerId="ADAL" clId="{39D5BF1A-0EE9-496D-9199-853EEBDEDBD5}" dt="2024-09-06T00:58:44.143" v="1460"/>
          <ac:spMkLst>
            <pc:docMk/>
            <pc:sldMk cId="1079539277" sldId="2147471713"/>
            <ac:spMk id="61" creationId="{33C7EE70-CB17-F3DE-0101-F9D88AB806AF}"/>
          </ac:spMkLst>
        </pc:spChg>
        <pc:spChg chg="mod">
          <ac:chgData name="Connor Xu" userId="a2fa5610-7f85-41f8-9630-afc02cec4fa9" providerId="ADAL" clId="{39D5BF1A-0EE9-496D-9199-853EEBDEDBD5}" dt="2024-09-06T00:58:44.143" v="1460"/>
          <ac:spMkLst>
            <pc:docMk/>
            <pc:sldMk cId="1079539277" sldId="2147471713"/>
            <ac:spMk id="62" creationId="{22B85994-265B-46FC-EAAF-C86F318B9021}"/>
          </ac:spMkLst>
        </pc:spChg>
        <pc:spChg chg="add mod">
          <ac:chgData name="Connor Xu" userId="a2fa5610-7f85-41f8-9630-afc02cec4fa9" providerId="ADAL" clId="{39D5BF1A-0EE9-496D-9199-853EEBDEDBD5}" dt="2024-09-06T01:19:52.224" v="1936" actId="1076"/>
          <ac:spMkLst>
            <pc:docMk/>
            <pc:sldMk cId="1079539277" sldId="2147471713"/>
            <ac:spMk id="63" creationId="{1753830F-186F-21E8-5BE3-789D5532D908}"/>
          </ac:spMkLst>
        </pc:spChg>
        <pc:spChg chg="add mod">
          <ac:chgData name="Connor Xu" userId="a2fa5610-7f85-41f8-9630-afc02cec4fa9" providerId="ADAL" clId="{39D5BF1A-0EE9-496D-9199-853EEBDEDBD5}" dt="2024-09-06T01:19:52.224" v="1936" actId="1076"/>
          <ac:spMkLst>
            <pc:docMk/>
            <pc:sldMk cId="1079539277" sldId="2147471713"/>
            <ac:spMk id="64" creationId="{679A8758-FC73-33F2-B513-57E36D8A1E71}"/>
          </ac:spMkLst>
        </pc:spChg>
        <pc:spChg chg="add mod">
          <ac:chgData name="Connor Xu" userId="a2fa5610-7f85-41f8-9630-afc02cec4fa9" providerId="ADAL" clId="{39D5BF1A-0EE9-496D-9199-853EEBDEDBD5}" dt="2024-09-06T01:19:52.224" v="1936" actId="1076"/>
          <ac:spMkLst>
            <pc:docMk/>
            <pc:sldMk cId="1079539277" sldId="2147471713"/>
            <ac:spMk id="65" creationId="{959A7EB1-D259-6E71-B717-3C0579797F27}"/>
          </ac:spMkLst>
        </pc:spChg>
        <pc:grpChg chg="add mod">
          <ac:chgData name="Connor Xu" userId="a2fa5610-7f85-41f8-9630-afc02cec4fa9" providerId="ADAL" clId="{39D5BF1A-0EE9-496D-9199-853EEBDEDBD5}" dt="2024-09-06T00:52:36.242" v="750"/>
          <ac:grpSpMkLst>
            <pc:docMk/>
            <pc:sldMk cId="1079539277" sldId="2147471713"/>
            <ac:grpSpMk id="4" creationId="{08E6D2ED-1A9A-DF83-5353-232F9A2CAE3B}"/>
          </ac:grpSpMkLst>
        </pc:grpChg>
        <pc:grpChg chg="add mod">
          <ac:chgData name="Connor Xu" userId="a2fa5610-7f85-41f8-9630-afc02cec4fa9" providerId="ADAL" clId="{39D5BF1A-0EE9-496D-9199-853EEBDEDBD5}" dt="2024-09-06T00:52:37.807" v="751"/>
          <ac:grpSpMkLst>
            <pc:docMk/>
            <pc:sldMk cId="1079539277" sldId="2147471713"/>
            <ac:grpSpMk id="18" creationId="{38FD5573-69E9-A55B-251C-7C0CDC7102ED}"/>
          </ac:grpSpMkLst>
        </pc:grpChg>
        <pc:grpChg chg="add mod">
          <ac:chgData name="Connor Xu" userId="a2fa5610-7f85-41f8-9630-afc02cec4fa9" providerId="ADAL" clId="{39D5BF1A-0EE9-496D-9199-853EEBDEDBD5}" dt="2024-09-06T00:52:48.858" v="752"/>
          <ac:grpSpMkLst>
            <pc:docMk/>
            <pc:sldMk cId="1079539277" sldId="2147471713"/>
            <ac:grpSpMk id="32" creationId="{7B2D8093-085A-48DD-2BC6-489DF4C5E22E}"/>
          </ac:grpSpMkLst>
        </pc:grpChg>
        <pc:grpChg chg="add mod">
          <ac:chgData name="Connor Xu" userId="a2fa5610-7f85-41f8-9630-afc02cec4fa9" providerId="ADAL" clId="{39D5BF1A-0EE9-496D-9199-853EEBDEDBD5}" dt="2024-09-06T00:58:44.143" v="1460"/>
          <ac:grpSpMkLst>
            <pc:docMk/>
            <pc:sldMk cId="1079539277" sldId="2147471713"/>
            <ac:grpSpMk id="49" creationId="{4D13E55F-EA45-5356-1861-29B006B831B2}"/>
          </ac:grpSpMkLst>
        </pc:grpChg>
        <pc:cxnChg chg="mod">
          <ac:chgData name="Connor Xu" userId="a2fa5610-7f85-41f8-9630-afc02cec4fa9" providerId="ADAL" clId="{39D5BF1A-0EE9-496D-9199-853EEBDEDBD5}" dt="2024-09-06T00:52:36.242" v="750"/>
          <ac:cxnSpMkLst>
            <pc:docMk/>
            <pc:sldMk cId="1079539277" sldId="2147471713"/>
            <ac:cxnSpMk id="6" creationId="{518C6601-1F39-6EA0-3E2E-24D08FF75546}"/>
          </ac:cxnSpMkLst>
        </pc:cxnChg>
        <pc:cxnChg chg="mod">
          <ac:chgData name="Connor Xu" userId="a2fa5610-7f85-41f8-9630-afc02cec4fa9" providerId="ADAL" clId="{39D5BF1A-0EE9-496D-9199-853EEBDEDBD5}" dt="2024-09-06T00:52:37.807" v="751"/>
          <ac:cxnSpMkLst>
            <pc:docMk/>
            <pc:sldMk cId="1079539277" sldId="2147471713"/>
            <ac:cxnSpMk id="20" creationId="{63D08A34-887B-3A06-0A56-D62DF2C0F47D}"/>
          </ac:cxnSpMkLst>
        </pc:cxnChg>
        <pc:cxnChg chg="mod">
          <ac:chgData name="Connor Xu" userId="a2fa5610-7f85-41f8-9630-afc02cec4fa9" providerId="ADAL" clId="{39D5BF1A-0EE9-496D-9199-853EEBDEDBD5}" dt="2024-09-06T00:52:48.858" v="752"/>
          <ac:cxnSpMkLst>
            <pc:docMk/>
            <pc:sldMk cId="1079539277" sldId="2147471713"/>
            <ac:cxnSpMk id="34" creationId="{BB22A1A2-A88E-891F-3AAD-03EA1F2B5DB0}"/>
          </ac:cxnSpMkLst>
        </pc:cxnChg>
        <pc:cxnChg chg="mod">
          <ac:chgData name="Connor Xu" userId="a2fa5610-7f85-41f8-9630-afc02cec4fa9" providerId="ADAL" clId="{39D5BF1A-0EE9-496D-9199-853EEBDEDBD5}" dt="2024-09-06T00:58:44.143" v="1460"/>
          <ac:cxnSpMkLst>
            <pc:docMk/>
            <pc:sldMk cId="1079539277" sldId="2147471713"/>
            <ac:cxnSpMk id="51" creationId="{2DF585BD-6DBF-4D0C-A408-E1682B8C38F0}"/>
          </ac:cxnSpMkLst>
        </pc:cxnChg>
      </pc:sldChg>
      <pc:sldChg chg="modSp new del mod">
        <pc:chgData name="Connor Xu" userId="a2fa5610-7f85-41f8-9630-afc02cec4fa9" providerId="ADAL" clId="{39D5BF1A-0EE9-496D-9199-853EEBDEDBD5}" dt="2024-09-06T02:09:44.564" v="3771" actId="47"/>
        <pc:sldMkLst>
          <pc:docMk/>
          <pc:sldMk cId="55857127" sldId="2147471714"/>
        </pc:sldMkLst>
        <pc:spChg chg="mod">
          <ac:chgData name="Connor Xu" userId="a2fa5610-7f85-41f8-9630-afc02cec4fa9" providerId="ADAL" clId="{39D5BF1A-0EE9-496D-9199-853EEBDEDBD5}" dt="2024-09-06T00:54:28.745" v="828" actId="20577"/>
          <ac:spMkLst>
            <pc:docMk/>
            <pc:sldMk cId="55857127" sldId="2147471714"/>
            <ac:spMk id="2" creationId="{83B45D66-0BE1-E412-E7A3-99D71AA49B9B}"/>
          </ac:spMkLst>
        </pc:spChg>
      </pc:sldChg>
      <pc:sldChg chg="addSp delSp modSp add mod">
        <pc:chgData name="Connor Xu" userId="a2fa5610-7f85-41f8-9630-afc02cec4fa9" providerId="ADAL" clId="{39D5BF1A-0EE9-496D-9199-853EEBDEDBD5}" dt="2024-09-06T02:32:48.145" v="5224" actId="20577"/>
        <pc:sldMkLst>
          <pc:docMk/>
          <pc:sldMk cId="3260927673" sldId="2147471715"/>
        </pc:sldMkLst>
        <pc:spChg chg="mod">
          <ac:chgData name="Connor Xu" userId="a2fa5610-7f85-41f8-9630-afc02cec4fa9" providerId="ADAL" clId="{39D5BF1A-0EE9-496D-9199-853EEBDEDBD5}" dt="2024-09-06T02:11:15.606" v="3851" actId="20577"/>
          <ac:spMkLst>
            <pc:docMk/>
            <pc:sldMk cId="3260927673" sldId="2147471715"/>
            <ac:spMk id="2" creationId="{83B45D66-0BE1-E412-E7A3-99D71AA49B9B}"/>
          </ac:spMkLst>
        </pc:spChg>
        <pc:spChg chg="del">
          <ac:chgData name="Connor Xu" userId="a2fa5610-7f85-41f8-9630-afc02cec4fa9" providerId="ADAL" clId="{39D5BF1A-0EE9-496D-9199-853EEBDEDBD5}" dt="2024-09-06T02:10:26.292" v="3772" actId="478"/>
          <ac:spMkLst>
            <pc:docMk/>
            <pc:sldMk cId="3260927673" sldId="2147471715"/>
            <ac:spMk id="3" creationId="{8225CD19-C914-C908-6392-74E9C29A93F3}"/>
          </ac:spMkLst>
        </pc:spChg>
        <pc:spChg chg="mod">
          <ac:chgData name="Connor Xu" userId="a2fa5610-7f85-41f8-9630-afc02cec4fa9" providerId="ADAL" clId="{39D5BF1A-0EE9-496D-9199-853EEBDEDBD5}" dt="2024-09-06T02:10:26.517" v="3773"/>
          <ac:spMkLst>
            <pc:docMk/>
            <pc:sldMk cId="3260927673" sldId="2147471715"/>
            <ac:spMk id="5" creationId="{3711255E-93CC-2887-4D85-2E561B21FF7C}"/>
          </ac:spMkLst>
        </pc:spChg>
        <pc:spChg chg="mod">
          <ac:chgData name="Connor Xu" userId="a2fa5610-7f85-41f8-9630-afc02cec4fa9" providerId="ADAL" clId="{39D5BF1A-0EE9-496D-9199-853EEBDEDBD5}" dt="2024-09-06T02:10:26.517" v="3773"/>
          <ac:spMkLst>
            <pc:docMk/>
            <pc:sldMk cId="3260927673" sldId="2147471715"/>
            <ac:spMk id="6" creationId="{856E28B2-4A1A-197B-6EB8-EB81862FC2E3}"/>
          </ac:spMkLst>
        </pc:spChg>
        <pc:spChg chg="add mod">
          <ac:chgData name="Connor Xu" userId="a2fa5610-7f85-41f8-9630-afc02cec4fa9" providerId="ADAL" clId="{39D5BF1A-0EE9-496D-9199-853EEBDEDBD5}" dt="2024-09-06T02:10:26.517" v="3773"/>
          <ac:spMkLst>
            <pc:docMk/>
            <pc:sldMk cId="3260927673" sldId="2147471715"/>
            <ac:spMk id="7" creationId="{3B1C747C-1B90-10A4-9DB8-1213080FF615}"/>
          </ac:spMkLst>
        </pc:spChg>
        <pc:spChg chg="add mod">
          <ac:chgData name="Connor Xu" userId="a2fa5610-7f85-41f8-9630-afc02cec4fa9" providerId="ADAL" clId="{39D5BF1A-0EE9-496D-9199-853EEBDEDBD5}" dt="2024-09-06T02:10:26.517" v="3773"/>
          <ac:spMkLst>
            <pc:docMk/>
            <pc:sldMk cId="3260927673" sldId="2147471715"/>
            <ac:spMk id="9" creationId="{5E5F65DC-9E92-58E4-4643-F7A90A9F7BA8}"/>
          </ac:spMkLst>
        </pc:spChg>
        <pc:spChg chg="add mod">
          <ac:chgData name="Connor Xu" userId="a2fa5610-7f85-41f8-9630-afc02cec4fa9" providerId="ADAL" clId="{39D5BF1A-0EE9-496D-9199-853EEBDEDBD5}" dt="2024-09-06T02:10:26.517" v="3773"/>
          <ac:spMkLst>
            <pc:docMk/>
            <pc:sldMk cId="3260927673" sldId="2147471715"/>
            <ac:spMk id="10" creationId="{0728114F-405B-A52E-4E6B-CA37960A0904}"/>
          </ac:spMkLst>
        </pc:spChg>
        <pc:spChg chg="mod">
          <ac:chgData name="Connor Xu" userId="a2fa5610-7f85-41f8-9630-afc02cec4fa9" providerId="ADAL" clId="{39D5BF1A-0EE9-496D-9199-853EEBDEDBD5}" dt="2024-09-06T02:10:26.517" v="3773"/>
          <ac:spMkLst>
            <pc:docMk/>
            <pc:sldMk cId="3260927673" sldId="2147471715"/>
            <ac:spMk id="12" creationId="{279C00D4-3556-145C-7295-513F7293585D}"/>
          </ac:spMkLst>
        </pc:spChg>
        <pc:spChg chg="mod">
          <ac:chgData name="Connor Xu" userId="a2fa5610-7f85-41f8-9630-afc02cec4fa9" providerId="ADAL" clId="{39D5BF1A-0EE9-496D-9199-853EEBDEDBD5}" dt="2024-09-06T02:10:26.517" v="3773"/>
          <ac:spMkLst>
            <pc:docMk/>
            <pc:sldMk cId="3260927673" sldId="2147471715"/>
            <ac:spMk id="13" creationId="{25E7EF24-1D01-63C8-7978-6E34D04AF0D3}"/>
          </ac:spMkLst>
        </pc:spChg>
        <pc:spChg chg="mod">
          <ac:chgData name="Connor Xu" userId="a2fa5610-7f85-41f8-9630-afc02cec4fa9" providerId="ADAL" clId="{39D5BF1A-0EE9-496D-9199-853EEBDEDBD5}" dt="2024-09-06T02:10:26.517" v="3773"/>
          <ac:spMkLst>
            <pc:docMk/>
            <pc:sldMk cId="3260927673" sldId="2147471715"/>
            <ac:spMk id="15" creationId="{6E83C10F-F024-840F-1495-A0A3926C0870}"/>
          </ac:spMkLst>
        </pc:spChg>
        <pc:spChg chg="mod">
          <ac:chgData name="Connor Xu" userId="a2fa5610-7f85-41f8-9630-afc02cec4fa9" providerId="ADAL" clId="{39D5BF1A-0EE9-496D-9199-853EEBDEDBD5}" dt="2024-09-06T02:10:26.517" v="3773"/>
          <ac:spMkLst>
            <pc:docMk/>
            <pc:sldMk cId="3260927673" sldId="2147471715"/>
            <ac:spMk id="16" creationId="{85DC24BE-2B77-78E5-D007-FD101F326ED1}"/>
          </ac:spMkLst>
        </pc:spChg>
        <pc:spChg chg="mod">
          <ac:chgData name="Connor Xu" userId="a2fa5610-7f85-41f8-9630-afc02cec4fa9" providerId="ADAL" clId="{39D5BF1A-0EE9-496D-9199-853EEBDEDBD5}" dt="2024-09-06T02:10:26.517" v="3773"/>
          <ac:spMkLst>
            <pc:docMk/>
            <pc:sldMk cId="3260927673" sldId="2147471715"/>
            <ac:spMk id="18" creationId="{A89668C2-27F4-FBF7-6558-9B387B67EDC1}"/>
          </ac:spMkLst>
        </pc:spChg>
        <pc:spChg chg="mod">
          <ac:chgData name="Connor Xu" userId="a2fa5610-7f85-41f8-9630-afc02cec4fa9" providerId="ADAL" clId="{39D5BF1A-0EE9-496D-9199-853EEBDEDBD5}" dt="2024-09-06T02:10:26.517" v="3773"/>
          <ac:spMkLst>
            <pc:docMk/>
            <pc:sldMk cId="3260927673" sldId="2147471715"/>
            <ac:spMk id="19" creationId="{C88AD5EE-4075-BEF3-845A-D3DC20D3C30A}"/>
          </ac:spMkLst>
        </pc:spChg>
        <pc:spChg chg="add mod">
          <ac:chgData name="Connor Xu" userId="a2fa5610-7f85-41f8-9630-afc02cec4fa9" providerId="ADAL" clId="{39D5BF1A-0EE9-496D-9199-853EEBDEDBD5}" dt="2024-09-06T02:10:26.517" v="3773"/>
          <ac:spMkLst>
            <pc:docMk/>
            <pc:sldMk cId="3260927673" sldId="2147471715"/>
            <ac:spMk id="20" creationId="{998CB222-AB9B-53E1-CAA5-C1F19086452F}"/>
          </ac:spMkLst>
        </pc:spChg>
        <pc:spChg chg="add mod">
          <ac:chgData name="Connor Xu" userId="a2fa5610-7f85-41f8-9630-afc02cec4fa9" providerId="ADAL" clId="{39D5BF1A-0EE9-496D-9199-853EEBDEDBD5}" dt="2024-09-06T02:10:26.517" v="3773"/>
          <ac:spMkLst>
            <pc:docMk/>
            <pc:sldMk cId="3260927673" sldId="2147471715"/>
            <ac:spMk id="21" creationId="{434DCC1A-9DB9-29EC-1069-C27F6B73286E}"/>
          </ac:spMkLst>
        </pc:spChg>
        <pc:spChg chg="add mod">
          <ac:chgData name="Connor Xu" userId="a2fa5610-7f85-41f8-9630-afc02cec4fa9" providerId="ADAL" clId="{39D5BF1A-0EE9-496D-9199-853EEBDEDBD5}" dt="2024-09-06T02:32:44.270" v="5220" actId="554"/>
          <ac:spMkLst>
            <pc:docMk/>
            <pc:sldMk cId="3260927673" sldId="2147471715"/>
            <ac:spMk id="22" creationId="{951E3203-D12D-E4BB-E710-C3B06754131E}"/>
          </ac:spMkLst>
        </pc:spChg>
        <pc:spChg chg="mod topLvl">
          <ac:chgData name="Connor Xu" userId="a2fa5610-7f85-41f8-9630-afc02cec4fa9" providerId="ADAL" clId="{39D5BF1A-0EE9-496D-9199-853EEBDEDBD5}" dt="2024-09-06T02:29:35.241" v="4832" actId="1035"/>
          <ac:spMkLst>
            <pc:docMk/>
            <pc:sldMk cId="3260927673" sldId="2147471715"/>
            <ac:spMk id="24" creationId="{1ACD4C80-D26E-997F-9699-75B7ED7FD620}"/>
          </ac:spMkLst>
        </pc:spChg>
        <pc:spChg chg="mod topLvl">
          <ac:chgData name="Connor Xu" userId="a2fa5610-7f85-41f8-9630-afc02cec4fa9" providerId="ADAL" clId="{39D5BF1A-0EE9-496D-9199-853EEBDEDBD5}" dt="2024-09-06T02:29:35.241" v="4832" actId="1035"/>
          <ac:spMkLst>
            <pc:docMk/>
            <pc:sldMk cId="3260927673" sldId="2147471715"/>
            <ac:spMk id="25" creationId="{453B4A9C-FF57-87B0-D7A7-F3EB86894BAE}"/>
          </ac:spMkLst>
        </pc:spChg>
        <pc:spChg chg="add mod">
          <ac:chgData name="Connor Xu" userId="a2fa5610-7f85-41f8-9630-afc02cec4fa9" providerId="ADAL" clId="{39D5BF1A-0EE9-496D-9199-853EEBDEDBD5}" dt="2024-09-06T02:29:26.848" v="4825" actId="1076"/>
          <ac:spMkLst>
            <pc:docMk/>
            <pc:sldMk cId="3260927673" sldId="2147471715"/>
            <ac:spMk id="26" creationId="{EC227673-EF44-CFF0-2FCB-5E58E02AF77A}"/>
          </ac:spMkLst>
        </pc:spChg>
        <pc:spChg chg="add mod">
          <ac:chgData name="Connor Xu" userId="a2fa5610-7f85-41f8-9630-afc02cec4fa9" providerId="ADAL" clId="{39D5BF1A-0EE9-496D-9199-853EEBDEDBD5}" dt="2024-09-06T02:29:40.651" v="4839" actId="1035"/>
          <ac:spMkLst>
            <pc:docMk/>
            <pc:sldMk cId="3260927673" sldId="2147471715"/>
            <ac:spMk id="28" creationId="{ACDDBE53-F81A-7370-D406-9870CBA0843C}"/>
          </ac:spMkLst>
        </pc:spChg>
        <pc:spChg chg="add mod">
          <ac:chgData name="Connor Xu" userId="a2fa5610-7f85-41f8-9630-afc02cec4fa9" providerId="ADAL" clId="{39D5BF1A-0EE9-496D-9199-853EEBDEDBD5}" dt="2024-09-06T02:29:40.651" v="4839" actId="1035"/>
          <ac:spMkLst>
            <pc:docMk/>
            <pc:sldMk cId="3260927673" sldId="2147471715"/>
            <ac:spMk id="29" creationId="{B5657F9B-CA69-177C-A4D3-026B1267A249}"/>
          </ac:spMkLst>
        </pc:spChg>
        <pc:spChg chg="mod topLvl">
          <ac:chgData name="Connor Xu" userId="a2fa5610-7f85-41f8-9630-afc02cec4fa9" providerId="ADAL" clId="{39D5BF1A-0EE9-496D-9199-853EEBDEDBD5}" dt="2024-09-06T02:29:35.241" v="4832" actId="1035"/>
          <ac:spMkLst>
            <pc:docMk/>
            <pc:sldMk cId="3260927673" sldId="2147471715"/>
            <ac:spMk id="31" creationId="{8D5023AE-84C8-F45E-6EB9-F7FFC61378AE}"/>
          </ac:spMkLst>
        </pc:spChg>
        <pc:spChg chg="mod topLvl">
          <ac:chgData name="Connor Xu" userId="a2fa5610-7f85-41f8-9630-afc02cec4fa9" providerId="ADAL" clId="{39D5BF1A-0EE9-496D-9199-853EEBDEDBD5}" dt="2024-09-06T02:30:42.421" v="4876" actId="20577"/>
          <ac:spMkLst>
            <pc:docMk/>
            <pc:sldMk cId="3260927673" sldId="2147471715"/>
            <ac:spMk id="32" creationId="{25CD911B-FE8E-3944-F9C6-05ECEBF0E03F}"/>
          </ac:spMkLst>
        </pc:spChg>
        <pc:spChg chg="mod topLvl">
          <ac:chgData name="Connor Xu" userId="a2fa5610-7f85-41f8-9630-afc02cec4fa9" providerId="ADAL" clId="{39D5BF1A-0EE9-496D-9199-853EEBDEDBD5}" dt="2024-09-06T02:29:35.241" v="4832" actId="1035"/>
          <ac:spMkLst>
            <pc:docMk/>
            <pc:sldMk cId="3260927673" sldId="2147471715"/>
            <ac:spMk id="34" creationId="{29F4A5E4-5D14-D4E3-85DD-0E9ABBBF5169}"/>
          </ac:spMkLst>
        </pc:spChg>
        <pc:spChg chg="mod topLvl">
          <ac:chgData name="Connor Xu" userId="a2fa5610-7f85-41f8-9630-afc02cec4fa9" providerId="ADAL" clId="{39D5BF1A-0EE9-496D-9199-853EEBDEDBD5}" dt="2024-09-06T02:31:25.809" v="4943" actId="20577"/>
          <ac:spMkLst>
            <pc:docMk/>
            <pc:sldMk cId="3260927673" sldId="2147471715"/>
            <ac:spMk id="35" creationId="{855D8F99-E13F-EE7D-2934-C51E151C377E}"/>
          </ac:spMkLst>
        </pc:spChg>
        <pc:spChg chg="mod topLvl">
          <ac:chgData name="Connor Xu" userId="a2fa5610-7f85-41f8-9630-afc02cec4fa9" providerId="ADAL" clId="{39D5BF1A-0EE9-496D-9199-853EEBDEDBD5}" dt="2024-09-06T02:29:35.241" v="4832" actId="1035"/>
          <ac:spMkLst>
            <pc:docMk/>
            <pc:sldMk cId="3260927673" sldId="2147471715"/>
            <ac:spMk id="37" creationId="{0F9FAE3F-FDAC-DF8D-FBA1-D6034195C072}"/>
          </ac:spMkLst>
        </pc:spChg>
        <pc:spChg chg="mod topLvl">
          <ac:chgData name="Connor Xu" userId="a2fa5610-7f85-41f8-9630-afc02cec4fa9" providerId="ADAL" clId="{39D5BF1A-0EE9-496D-9199-853EEBDEDBD5}" dt="2024-09-06T02:29:35.241" v="4832" actId="1035"/>
          <ac:spMkLst>
            <pc:docMk/>
            <pc:sldMk cId="3260927673" sldId="2147471715"/>
            <ac:spMk id="38" creationId="{19E2B9AD-B076-C5A8-51C2-4F936BEE6820}"/>
          </ac:spMkLst>
        </pc:spChg>
        <pc:spChg chg="add del mod">
          <ac:chgData name="Connor Xu" userId="a2fa5610-7f85-41f8-9630-afc02cec4fa9" providerId="ADAL" clId="{39D5BF1A-0EE9-496D-9199-853EEBDEDBD5}" dt="2024-09-06T02:29:55.338" v="4842" actId="478"/>
          <ac:spMkLst>
            <pc:docMk/>
            <pc:sldMk cId="3260927673" sldId="2147471715"/>
            <ac:spMk id="39" creationId="{43E6004B-D339-D327-B965-864564AECF88}"/>
          </ac:spMkLst>
        </pc:spChg>
        <pc:spChg chg="add mod">
          <ac:chgData name="Connor Xu" userId="a2fa5610-7f85-41f8-9630-afc02cec4fa9" providerId="ADAL" clId="{39D5BF1A-0EE9-496D-9199-853EEBDEDBD5}" dt="2024-09-06T02:29:40.651" v="4839" actId="1035"/>
          <ac:spMkLst>
            <pc:docMk/>
            <pc:sldMk cId="3260927673" sldId="2147471715"/>
            <ac:spMk id="40" creationId="{357F5532-3D77-9004-7CA6-CA1E22FD3836}"/>
          </ac:spMkLst>
        </pc:spChg>
        <pc:spChg chg="add mod">
          <ac:chgData name="Connor Xu" userId="a2fa5610-7f85-41f8-9630-afc02cec4fa9" providerId="ADAL" clId="{39D5BF1A-0EE9-496D-9199-853EEBDEDBD5}" dt="2024-09-06T02:32:48.145" v="5224" actId="20577"/>
          <ac:spMkLst>
            <pc:docMk/>
            <pc:sldMk cId="3260927673" sldId="2147471715"/>
            <ac:spMk id="41" creationId="{2D23DE15-5479-56BF-8B3B-65EE1DCC88E5}"/>
          </ac:spMkLst>
        </pc:spChg>
        <pc:grpChg chg="add mod">
          <ac:chgData name="Connor Xu" userId="a2fa5610-7f85-41f8-9630-afc02cec4fa9" providerId="ADAL" clId="{39D5BF1A-0EE9-496D-9199-853EEBDEDBD5}" dt="2024-09-06T02:10:26.517" v="3773"/>
          <ac:grpSpMkLst>
            <pc:docMk/>
            <pc:sldMk cId="3260927673" sldId="2147471715"/>
            <ac:grpSpMk id="4" creationId="{A0635D2E-B002-8B0D-B429-DFB18EF1688E}"/>
          </ac:grpSpMkLst>
        </pc:grpChg>
        <pc:grpChg chg="add mod">
          <ac:chgData name="Connor Xu" userId="a2fa5610-7f85-41f8-9630-afc02cec4fa9" providerId="ADAL" clId="{39D5BF1A-0EE9-496D-9199-853EEBDEDBD5}" dt="2024-09-06T02:10:26.517" v="3773"/>
          <ac:grpSpMkLst>
            <pc:docMk/>
            <pc:sldMk cId="3260927673" sldId="2147471715"/>
            <ac:grpSpMk id="11" creationId="{3002A316-BA06-61D2-B92E-0E3F9E22C463}"/>
          </ac:grpSpMkLst>
        </pc:grpChg>
        <pc:grpChg chg="add mod">
          <ac:chgData name="Connor Xu" userId="a2fa5610-7f85-41f8-9630-afc02cec4fa9" providerId="ADAL" clId="{39D5BF1A-0EE9-496D-9199-853EEBDEDBD5}" dt="2024-09-06T02:10:26.517" v="3773"/>
          <ac:grpSpMkLst>
            <pc:docMk/>
            <pc:sldMk cId="3260927673" sldId="2147471715"/>
            <ac:grpSpMk id="14" creationId="{D8285C5A-FA51-C316-DC2A-31AEE88A649D}"/>
          </ac:grpSpMkLst>
        </pc:grpChg>
        <pc:grpChg chg="add mod">
          <ac:chgData name="Connor Xu" userId="a2fa5610-7f85-41f8-9630-afc02cec4fa9" providerId="ADAL" clId="{39D5BF1A-0EE9-496D-9199-853EEBDEDBD5}" dt="2024-09-06T02:10:26.517" v="3773"/>
          <ac:grpSpMkLst>
            <pc:docMk/>
            <pc:sldMk cId="3260927673" sldId="2147471715"/>
            <ac:grpSpMk id="17" creationId="{8949E87B-B666-E8C8-B0E0-DADB31C5C546}"/>
          </ac:grpSpMkLst>
        </pc:grpChg>
        <pc:grpChg chg="add del mod">
          <ac:chgData name="Connor Xu" userId="a2fa5610-7f85-41f8-9630-afc02cec4fa9" providerId="ADAL" clId="{39D5BF1A-0EE9-496D-9199-853EEBDEDBD5}" dt="2024-09-06T02:26:58.505" v="4749" actId="165"/>
          <ac:grpSpMkLst>
            <pc:docMk/>
            <pc:sldMk cId="3260927673" sldId="2147471715"/>
            <ac:grpSpMk id="23" creationId="{E208EB67-F0D1-E03C-82C5-D6CF6DCFD113}"/>
          </ac:grpSpMkLst>
        </pc:grpChg>
        <pc:grpChg chg="add del mod">
          <ac:chgData name="Connor Xu" userId="a2fa5610-7f85-41f8-9630-afc02cec4fa9" providerId="ADAL" clId="{39D5BF1A-0EE9-496D-9199-853EEBDEDBD5}" dt="2024-09-06T02:26:58.505" v="4749" actId="165"/>
          <ac:grpSpMkLst>
            <pc:docMk/>
            <pc:sldMk cId="3260927673" sldId="2147471715"/>
            <ac:grpSpMk id="30" creationId="{0F49400F-E410-C98F-EFA6-1B96D59258AD}"/>
          </ac:grpSpMkLst>
        </pc:grpChg>
        <pc:grpChg chg="add del mod">
          <ac:chgData name="Connor Xu" userId="a2fa5610-7f85-41f8-9630-afc02cec4fa9" providerId="ADAL" clId="{39D5BF1A-0EE9-496D-9199-853EEBDEDBD5}" dt="2024-09-06T02:26:58.505" v="4749" actId="165"/>
          <ac:grpSpMkLst>
            <pc:docMk/>
            <pc:sldMk cId="3260927673" sldId="2147471715"/>
            <ac:grpSpMk id="33" creationId="{0A038763-4D8F-673C-A135-B08D0070AD67}"/>
          </ac:grpSpMkLst>
        </pc:grpChg>
        <pc:grpChg chg="add del mod">
          <ac:chgData name="Connor Xu" userId="a2fa5610-7f85-41f8-9630-afc02cec4fa9" providerId="ADAL" clId="{39D5BF1A-0EE9-496D-9199-853EEBDEDBD5}" dt="2024-09-06T02:26:58.505" v="4749" actId="165"/>
          <ac:grpSpMkLst>
            <pc:docMk/>
            <pc:sldMk cId="3260927673" sldId="2147471715"/>
            <ac:grpSpMk id="36" creationId="{7F5E54D0-670F-0A87-021C-F5595B15464E}"/>
          </ac:grpSpMkLst>
        </pc:grpChg>
        <pc:cxnChg chg="add mod">
          <ac:chgData name="Connor Xu" userId="a2fa5610-7f85-41f8-9630-afc02cec4fa9" providerId="ADAL" clId="{39D5BF1A-0EE9-496D-9199-853EEBDEDBD5}" dt="2024-09-06T02:10:26.517" v="3773"/>
          <ac:cxnSpMkLst>
            <pc:docMk/>
            <pc:sldMk cId="3260927673" sldId="2147471715"/>
            <ac:cxnSpMk id="8" creationId="{681D118C-680E-3ABE-4623-394F93E2FF63}"/>
          </ac:cxnSpMkLst>
        </pc:cxnChg>
        <pc:cxnChg chg="add mod">
          <ac:chgData name="Connor Xu" userId="a2fa5610-7f85-41f8-9630-afc02cec4fa9" providerId="ADAL" clId="{39D5BF1A-0EE9-496D-9199-853EEBDEDBD5}" dt="2024-09-06T02:29:35.241" v="4832" actId="1035"/>
          <ac:cxnSpMkLst>
            <pc:docMk/>
            <pc:sldMk cId="3260927673" sldId="2147471715"/>
            <ac:cxnSpMk id="27" creationId="{F0E9898B-99FD-9801-F664-8E61CBB95CA9}"/>
          </ac:cxnSpMkLst>
        </pc:cxnChg>
      </pc:sldChg>
      <pc:sldChg chg="addSp delSp modSp add mod">
        <pc:chgData name="Connor Xu" userId="a2fa5610-7f85-41f8-9630-afc02cec4fa9" providerId="ADAL" clId="{39D5BF1A-0EE9-496D-9199-853EEBDEDBD5}" dt="2024-09-06T02:55:02.148" v="6264" actId="20577"/>
        <pc:sldMkLst>
          <pc:docMk/>
          <pc:sldMk cId="1764304587" sldId="2147471716"/>
        </pc:sldMkLst>
        <pc:spChg chg="mod">
          <ac:chgData name="Connor Xu" userId="a2fa5610-7f85-41f8-9630-afc02cec4fa9" providerId="ADAL" clId="{39D5BF1A-0EE9-496D-9199-853EEBDEDBD5}" dt="2024-09-06T02:33:13.012" v="5295" actId="20577"/>
          <ac:spMkLst>
            <pc:docMk/>
            <pc:sldMk cId="1764304587" sldId="2147471716"/>
            <ac:spMk id="2" creationId="{83B45D66-0BE1-E412-E7A3-99D71AA49B9B}"/>
          </ac:spMkLst>
        </pc:spChg>
        <pc:spChg chg="mod">
          <ac:chgData name="Connor Xu" userId="a2fa5610-7f85-41f8-9630-afc02cec4fa9" providerId="ADAL" clId="{39D5BF1A-0EE9-496D-9199-853EEBDEDBD5}" dt="2024-09-06T02:54:55.751" v="6250" actId="20577"/>
          <ac:spMkLst>
            <pc:docMk/>
            <pc:sldMk cId="1764304587" sldId="2147471716"/>
            <ac:spMk id="3" creationId="{8225CD19-C914-C908-6392-74E9C29A93F3}"/>
          </ac:spMkLst>
        </pc:spChg>
        <pc:spChg chg="mod">
          <ac:chgData name="Connor Xu" userId="a2fa5610-7f85-41f8-9630-afc02cec4fa9" providerId="ADAL" clId="{39D5BF1A-0EE9-496D-9199-853EEBDEDBD5}" dt="2024-09-06T02:34:25.685" v="5329"/>
          <ac:spMkLst>
            <pc:docMk/>
            <pc:sldMk cId="1764304587" sldId="2147471716"/>
            <ac:spMk id="5" creationId="{12926180-DC9F-D7A3-C8D1-8C836AC306B5}"/>
          </ac:spMkLst>
        </pc:spChg>
        <pc:spChg chg="mod">
          <ac:chgData name="Connor Xu" userId="a2fa5610-7f85-41f8-9630-afc02cec4fa9" providerId="ADAL" clId="{39D5BF1A-0EE9-496D-9199-853EEBDEDBD5}" dt="2024-09-06T02:34:25.685" v="5329"/>
          <ac:spMkLst>
            <pc:docMk/>
            <pc:sldMk cId="1764304587" sldId="2147471716"/>
            <ac:spMk id="6" creationId="{D80485A1-0785-8505-96E6-4719D2F9DAE5}"/>
          </ac:spMkLst>
        </pc:spChg>
        <pc:spChg chg="mod">
          <ac:chgData name="Connor Xu" userId="a2fa5610-7f85-41f8-9630-afc02cec4fa9" providerId="ADAL" clId="{39D5BF1A-0EE9-496D-9199-853EEBDEDBD5}" dt="2024-09-06T02:34:25.685" v="5329"/>
          <ac:spMkLst>
            <pc:docMk/>
            <pc:sldMk cId="1764304587" sldId="2147471716"/>
            <ac:spMk id="7" creationId="{81B14358-9555-CC1B-2D78-F63DEF7C6CED}"/>
          </ac:spMkLst>
        </pc:spChg>
        <pc:spChg chg="mod">
          <ac:chgData name="Connor Xu" userId="a2fa5610-7f85-41f8-9630-afc02cec4fa9" providerId="ADAL" clId="{39D5BF1A-0EE9-496D-9199-853EEBDEDBD5}" dt="2024-09-06T02:34:25.685" v="5329"/>
          <ac:spMkLst>
            <pc:docMk/>
            <pc:sldMk cId="1764304587" sldId="2147471716"/>
            <ac:spMk id="8" creationId="{998856CB-B951-0E37-1AC1-D9C9F59C8EAF}"/>
          </ac:spMkLst>
        </pc:spChg>
        <pc:spChg chg="mod">
          <ac:chgData name="Connor Xu" userId="a2fa5610-7f85-41f8-9630-afc02cec4fa9" providerId="ADAL" clId="{39D5BF1A-0EE9-496D-9199-853EEBDEDBD5}" dt="2024-09-06T02:34:25.685" v="5329"/>
          <ac:spMkLst>
            <pc:docMk/>
            <pc:sldMk cId="1764304587" sldId="2147471716"/>
            <ac:spMk id="9" creationId="{EA39E29C-F16A-A30D-FE2D-DD66649B2A35}"/>
          </ac:spMkLst>
        </pc:spChg>
        <pc:spChg chg="mod">
          <ac:chgData name="Connor Xu" userId="a2fa5610-7f85-41f8-9630-afc02cec4fa9" providerId="ADAL" clId="{39D5BF1A-0EE9-496D-9199-853EEBDEDBD5}" dt="2024-09-06T02:34:25.685" v="5329"/>
          <ac:spMkLst>
            <pc:docMk/>
            <pc:sldMk cId="1764304587" sldId="2147471716"/>
            <ac:spMk id="10" creationId="{A4E4FDD8-5636-7881-556C-00F5D2A96EF6}"/>
          </ac:spMkLst>
        </pc:spChg>
        <pc:spChg chg="mod">
          <ac:chgData name="Connor Xu" userId="a2fa5610-7f85-41f8-9630-afc02cec4fa9" providerId="ADAL" clId="{39D5BF1A-0EE9-496D-9199-853EEBDEDBD5}" dt="2024-09-06T02:34:25.685" v="5329"/>
          <ac:spMkLst>
            <pc:docMk/>
            <pc:sldMk cId="1764304587" sldId="2147471716"/>
            <ac:spMk id="11" creationId="{7E2AA05A-0242-F86F-8A24-5005620CE1DF}"/>
          </ac:spMkLst>
        </pc:spChg>
        <pc:spChg chg="mod">
          <ac:chgData name="Connor Xu" userId="a2fa5610-7f85-41f8-9630-afc02cec4fa9" providerId="ADAL" clId="{39D5BF1A-0EE9-496D-9199-853EEBDEDBD5}" dt="2024-09-06T02:34:25.685" v="5329"/>
          <ac:spMkLst>
            <pc:docMk/>
            <pc:sldMk cId="1764304587" sldId="2147471716"/>
            <ac:spMk id="12" creationId="{500872DA-F16A-E00F-2242-A9C8D0E172A7}"/>
          </ac:spMkLst>
        </pc:spChg>
        <pc:spChg chg="mod">
          <ac:chgData name="Connor Xu" userId="a2fa5610-7f85-41f8-9630-afc02cec4fa9" providerId="ADAL" clId="{39D5BF1A-0EE9-496D-9199-853EEBDEDBD5}" dt="2024-09-06T02:34:25.685" v="5329"/>
          <ac:spMkLst>
            <pc:docMk/>
            <pc:sldMk cId="1764304587" sldId="2147471716"/>
            <ac:spMk id="14" creationId="{E67115AF-074F-41D9-017C-02173DA4C095}"/>
          </ac:spMkLst>
        </pc:spChg>
        <pc:spChg chg="mod">
          <ac:chgData name="Connor Xu" userId="a2fa5610-7f85-41f8-9630-afc02cec4fa9" providerId="ADAL" clId="{39D5BF1A-0EE9-496D-9199-853EEBDEDBD5}" dt="2024-09-06T02:34:25.685" v="5329"/>
          <ac:spMkLst>
            <pc:docMk/>
            <pc:sldMk cId="1764304587" sldId="2147471716"/>
            <ac:spMk id="16" creationId="{772D264A-2C41-2060-DA52-6AEB84857816}"/>
          </ac:spMkLst>
        </pc:spChg>
        <pc:spChg chg="mod">
          <ac:chgData name="Connor Xu" userId="a2fa5610-7f85-41f8-9630-afc02cec4fa9" providerId="ADAL" clId="{39D5BF1A-0EE9-496D-9199-853EEBDEDBD5}" dt="2024-09-06T02:34:25.685" v="5329"/>
          <ac:spMkLst>
            <pc:docMk/>
            <pc:sldMk cId="1764304587" sldId="2147471716"/>
            <ac:spMk id="17" creationId="{3192CD5C-43C6-562D-D5A3-791D5BD2EC7E}"/>
          </ac:spMkLst>
        </pc:spChg>
        <pc:spChg chg="add mod">
          <ac:chgData name="Connor Xu" userId="a2fa5610-7f85-41f8-9630-afc02cec4fa9" providerId="ADAL" clId="{39D5BF1A-0EE9-496D-9199-853EEBDEDBD5}" dt="2024-09-06T02:45:31.235" v="5584" actId="14100"/>
          <ac:spMkLst>
            <pc:docMk/>
            <pc:sldMk cId="1764304587" sldId="2147471716"/>
            <ac:spMk id="18" creationId="{6F03F76B-E84A-6AE1-7553-F6E31912385D}"/>
          </ac:spMkLst>
        </pc:spChg>
        <pc:spChg chg="add mod">
          <ac:chgData name="Connor Xu" userId="a2fa5610-7f85-41f8-9630-afc02cec4fa9" providerId="ADAL" clId="{39D5BF1A-0EE9-496D-9199-853EEBDEDBD5}" dt="2024-09-06T02:55:02.148" v="6264" actId="20577"/>
          <ac:spMkLst>
            <pc:docMk/>
            <pc:sldMk cId="1764304587" sldId="2147471716"/>
            <ac:spMk id="19" creationId="{D042DD52-DCD2-EB57-61F4-F1753A1C1619}"/>
          </ac:spMkLst>
        </pc:spChg>
        <pc:spChg chg="add mod">
          <ac:chgData name="Connor Xu" userId="a2fa5610-7f85-41f8-9630-afc02cec4fa9" providerId="ADAL" clId="{39D5BF1A-0EE9-496D-9199-853EEBDEDBD5}" dt="2024-09-06T02:45:31.235" v="5584" actId="14100"/>
          <ac:spMkLst>
            <pc:docMk/>
            <pc:sldMk cId="1764304587" sldId="2147471716"/>
            <ac:spMk id="20" creationId="{CB910C4F-A500-1AAA-863F-AF633FB53EF6}"/>
          </ac:spMkLst>
        </pc:spChg>
        <pc:spChg chg="add mod">
          <ac:chgData name="Connor Xu" userId="a2fa5610-7f85-41f8-9630-afc02cec4fa9" providerId="ADAL" clId="{39D5BF1A-0EE9-496D-9199-853EEBDEDBD5}" dt="2024-09-06T02:45:31.235" v="5584" actId="14100"/>
          <ac:spMkLst>
            <pc:docMk/>
            <pc:sldMk cId="1764304587" sldId="2147471716"/>
            <ac:spMk id="21" creationId="{E53DD600-CBA8-8763-8FA1-4814EE55CE83}"/>
          </ac:spMkLst>
        </pc:spChg>
        <pc:spChg chg="add mod">
          <ac:chgData name="Connor Xu" userId="a2fa5610-7f85-41f8-9630-afc02cec4fa9" providerId="ADAL" clId="{39D5BF1A-0EE9-496D-9199-853EEBDEDBD5}" dt="2024-09-06T02:45:31.235" v="5584" actId="14100"/>
          <ac:spMkLst>
            <pc:docMk/>
            <pc:sldMk cId="1764304587" sldId="2147471716"/>
            <ac:spMk id="22" creationId="{57FF34E3-0088-ECBD-5434-9A2521EFC12D}"/>
          </ac:spMkLst>
        </pc:spChg>
        <pc:spChg chg="add mod">
          <ac:chgData name="Connor Xu" userId="a2fa5610-7f85-41f8-9630-afc02cec4fa9" providerId="ADAL" clId="{39D5BF1A-0EE9-496D-9199-853EEBDEDBD5}" dt="2024-09-06T02:45:31.235" v="5584" actId="14100"/>
          <ac:spMkLst>
            <pc:docMk/>
            <pc:sldMk cId="1764304587" sldId="2147471716"/>
            <ac:spMk id="23" creationId="{5A869961-0E62-11B4-55B9-2658E1EA3D1F}"/>
          </ac:spMkLst>
        </pc:spChg>
        <pc:spChg chg="add mod">
          <ac:chgData name="Connor Xu" userId="a2fa5610-7f85-41f8-9630-afc02cec4fa9" providerId="ADAL" clId="{39D5BF1A-0EE9-496D-9199-853EEBDEDBD5}" dt="2024-09-06T02:45:31.235" v="5584" actId="14100"/>
          <ac:spMkLst>
            <pc:docMk/>
            <pc:sldMk cId="1764304587" sldId="2147471716"/>
            <ac:spMk id="24" creationId="{72B50FD4-5DEB-ED01-DF22-C267B673B734}"/>
          </ac:spMkLst>
        </pc:spChg>
        <pc:spChg chg="add mod">
          <ac:chgData name="Connor Xu" userId="a2fa5610-7f85-41f8-9630-afc02cec4fa9" providerId="ADAL" clId="{39D5BF1A-0EE9-496D-9199-853EEBDEDBD5}" dt="2024-09-06T02:45:31.235" v="5584" actId="14100"/>
          <ac:spMkLst>
            <pc:docMk/>
            <pc:sldMk cId="1764304587" sldId="2147471716"/>
            <ac:spMk id="25" creationId="{4D701C04-6772-1016-3B63-0B146D376BBF}"/>
          </ac:spMkLst>
        </pc:spChg>
        <pc:spChg chg="add del">
          <ac:chgData name="Connor Xu" userId="a2fa5610-7f85-41f8-9630-afc02cec4fa9" providerId="ADAL" clId="{39D5BF1A-0EE9-496D-9199-853EEBDEDBD5}" dt="2024-09-06T02:43:47.457" v="5523" actId="22"/>
          <ac:spMkLst>
            <pc:docMk/>
            <pc:sldMk cId="1764304587" sldId="2147471716"/>
            <ac:spMk id="27" creationId="{0D896E5F-29AD-873C-5F8D-5F67F79877AF}"/>
          </ac:spMkLst>
        </pc:spChg>
        <pc:spChg chg="add mod">
          <ac:chgData name="Connor Xu" userId="a2fa5610-7f85-41f8-9630-afc02cec4fa9" providerId="ADAL" clId="{39D5BF1A-0EE9-496D-9199-853EEBDEDBD5}" dt="2024-09-06T02:44:21.154" v="5544" actId="20577"/>
          <ac:spMkLst>
            <pc:docMk/>
            <pc:sldMk cId="1764304587" sldId="2147471716"/>
            <ac:spMk id="28" creationId="{9D11BD7B-914A-0CAC-1327-31135CC26D6F}"/>
          </ac:spMkLst>
        </pc:spChg>
        <pc:spChg chg="add del mod">
          <ac:chgData name="Connor Xu" userId="a2fa5610-7f85-41f8-9630-afc02cec4fa9" providerId="ADAL" clId="{39D5BF1A-0EE9-496D-9199-853EEBDEDBD5}" dt="2024-09-06T02:44:39.093" v="5552" actId="478"/>
          <ac:spMkLst>
            <pc:docMk/>
            <pc:sldMk cId="1764304587" sldId="2147471716"/>
            <ac:spMk id="30" creationId="{7C4A2F3B-5FF3-DEF7-1C70-B58C238F63F8}"/>
          </ac:spMkLst>
        </pc:spChg>
        <pc:spChg chg="mod">
          <ac:chgData name="Connor Xu" userId="a2fa5610-7f85-41f8-9630-afc02cec4fa9" providerId="ADAL" clId="{39D5BF1A-0EE9-496D-9199-853EEBDEDBD5}" dt="2024-09-06T02:44:33.109" v="5549"/>
          <ac:spMkLst>
            <pc:docMk/>
            <pc:sldMk cId="1764304587" sldId="2147471716"/>
            <ac:spMk id="32" creationId="{07677CE5-AE6C-2457-E127-42F4D088FDD6}"/>
          </ac:spMkLst>
        </pc:spChg>
        <pc:spChg chg="mod">
          <ac:chgData name="Connor Xu" userId="a2fa5610-7f85-41f8-9630-afc02cec4fa9" providerId="ADAL" clId="{39D5BF1A-0EE9-496D-9199-853EEBDEDBD5}" dt="2024-09-06T02:44:33.109" v="5549"/>
          <ac:spMkLst>
            <pc:docMk/>
            <pc:sldMk cId="1764304587" sldId="2147471716"/>
            <ac:spMk id="33" creationId="{2AF815CE-934F-C4F5-4A5B-5157426F0CA4}"/>
          </ac:spMkLst>
        </pc:spChg>
        <pc:spChg chg="add mod">
          <ac:chgData name="Connor Xu" userId="a2fa5610-7f85-41f8-9630-afc02cec4fa9" providerId="ADAL" clId="{39D5BF1A-0EE9-496D-9199-853EEBDEDBD5}" dt="2024-09-06T02:45:09.597" v="5573" actId="404"/>
          <ac:spMkLst>
            <pc:docMk/>
            <pc:sldMk cId="1764304587" sldId="2147471716"/>
            <ac:spMk id="35" creationId="{B3EA729E-DF51-D843-AD4C-B9261F8FF2F6}"/>
          </ac:spMkLst>
        </pc:spChg>
        <pc:spChg chg="add mod">
          <ac:chgData name="Connor Xu" userId="a2fa5610-7f85-41f8-9630-afc02cec4fa9" providerId="ADAL" clId="{39D5BF1A-0EE9-496D-9199-853EEBDEDBD5}" dt="2024-09-06T02:45:09.597" v="5573" actId="404"/>
          <ac:spMkLst>
            <pc:docMk/>
            <pc:sldMk cId="1764304587" sldId="2147471716"/>
            <ac:spMk id="36" creationId="{9BABC5BF-08B4-C239-27BB-B5C9E393A400}"/>
          </ac:spMkLst>
        </pc:spChg>
        <pc:spChg chg="add mod">
          <ac:chgData name="Connor Xu" userId="a2fa5610-7f85-41f8-9630-afc02cec4fa9" providerId="ADAL" clId="{39D5BF1A-0EE9-496D-9199-853EEBDEDBD5}" dt="2024-09-06T02:45:09.597" v="5573" actId="404"/>
          <ac:spMkLst>
            <pc:docMk/>
            <pc:sldMk cId="1764304587" sldId="2147471716"/>
            <ac:spMk id="37" creationId="{4ED87340-06FC-B331-8F41-6242733B1F60}"/>
          </ac:spMkLst>
        </pc:spChg>
        <pc:grpChg chg="add mod">
          <ac:chgData name="Connor Xu" userId="a2fa5610-7f85-41f8-9630-afc02cec4fa9" providerId="ADAL" clId="{39D5BF1A-0EE9-496D-9199-853EEBDEDBD5}" dt="2024-09-06T02:34:25.685" v="5329"/>
          <ac:grpSpMkLst>
            <pc:docMk/>
            <pc:sldMk cId="1764304587" sldId="2147471716"/>
            <ac:grpSpMk id="4" creationId="{D376740C-FFED-6373-C466-40B4C8C27BF5}"/>
          </ac:grpSpMkLst>
        </pc:grpChg>
        <pc:grpChg chg="add mod">
          <ac:chgData name="Connor Xu" userId="a2fa5610-7f85-41f8-9630-afc02cec4fa9" providerId="ADAL" clId="{39D5BF1A-0EE9-496D-9199-853EEBDEDBD5}" dt="2024-09-06T02:34:25.685" v="5329"/>
          <ac:grpSpMkLst>
            <pc:docMk/>
            <pc:sldMk cId="1764304587" sldId="2147471716"/>
            <ac:grpSpMk id="13" creationId="{F154A459-459F-A4E3-3B42-FF20CF4DF3FE}"/>
          </ac:grpSpMkLst>
        </pc:grpChg>
        <pc:grpChg chg="add del mod">
          <ac:chgData name="Connor Xu" userId="a2fa5610-7f85-41f8-9630-afc02cec4fa9" providerId="ADAL" clId="{39D5BF1A-0EE9-496D-9199-853EEBDEDBD5}" dt="2024-09-06T02:44:45.276" v="5555" actId="478"/>
          <ac:grpSpMkLst>
            <pc:docMk/>
            <pc:sldMk cId="1764304587" sldId="2147471716"/>
            <ac:grpSpMk id="29" creationId="{03DF5CC7-38BA-47CC-42EE-FB4A04049053}"/>
          </ac:grpSpMkLst>
        </pc:grpChg>
        <pc:cxnChg chg="mod">
          <ac:chgData name="Connor Xu" userId="a2fa5610-7f85-41f8-9630-afc02cec4fa9" providerId="ADAL" clId="{39D5BF1A-0EE9-496D-9199-853EEBDEDBD5}" dt="2024-09-06T02:34:25.685" v="5329"/>
          <ac:cxnSpMkLst>
            <pc:docMk/>
            <pc:sldMk cId="1764304587" sldId="2147471716"/>
            <ac:cxnSpMk id="15" creationId="{9B70810E-327E-1A2A-DB68-93DDF2609482}"/>
          </ac:cxnSpMkLst>
        </pc:cxnChg>
        <pc:cxnChg chg="del mod">
          <ac:chgData name="Connor Xu" userId="a2fa5610-7f85-41f8-9630-afc02cec4fa9" providerId="ADAL" clId="{39D5BF1A-0EE9-496D-9199-853EEBDEDBD5}" dt="2024-09-06T02:44:44.274" v="5554" actId="478"/>
          <ac:cxnSpMkLst>
            <pc:docMk/>
            <pc:sldMk cId="1764304587" sldId="2147471716"/>
            <ac:cxnSpMk id="31" creationId="{2313F30B-9866-61A5-391C-780CF37376D1}"/>
          </ac:cxnSpMkLst>
        </pc:cxnChg>
        <pc:cxnChg chg="add mod">
          <ac:chgData name="Connor Xu" userId="a2fa5610-7f85-41f8-9630-afc02cec4fa9" providerId="ADAL" clId="{39D5BF1A-0EE9-496D-9199-853EEBDEDBD5}" dt="2024-09-06T02:44:56.817" v="5557" actId="1076"/>
          <ac:cxnSpMkLst>
            <pc:docMk/>
            <pc:sldMk cId="1764304587" sldId="2147471716"/>
            <ac:cxnSpMk id="34" creationId="{3DAE5A47-E9E2-5F5A-778B-2F7DDD585F78}"/>
          </ac:cxnSpMkLst>
        </pc:cxnChg>
      </pc:sldChg>
      <pc:sldChg chg="modSp add del mod">
        <pc:chgData name="Connor Xu" userId="a2fa5610-7f85-41f8-9630-afc02cec4fa9" providerId="ADAL" clId="{39D5BF1A-0EE9-496D-9199-853EEBDEDBD5}" dt="2024-09-06T02:59:43.798" v="6470" actId="47"/>
        <pc:sldMkLst>
          <pc:docMk/>
          <pc:sldMk cId="2056515421" sldId="2147471717"/>
        </pc:sldMkLst>
        <pc:spChg chg="mod">
          <ac:chgData name="Connor Xu" userId="a2fa5610-7f85-41f8-9630-afc02cec4fa9" providerId="ADAL" clId="{39D5BF1A-0EE9-496D-9199-853EEBDEDBD5}" dt="2024-09-06T02:55:50.842" v="6342" actId="20577"/>
          <ac:spMkLst>
            <pc:docMk/>
            <pc:sldMk cId="2056515421" sldId="2147471717"/>
            <ac:spMk id="2" creationId="{83B45D66-0BE1-E412-E7A3-99D71AA49B9B}"/>
          </ac:spMkLst>
        </pc:spChg>
      </pc:sldChg>
      <pc:sldChg chg="addSp delSp modSp new mod ord">
        <pc:chgData name="Connor Xu" userId="a2fa5610-7f85-41f8-9630-afc02cec4fa9" providerId="ADAL" clId="{39D5BF1A-0EE9-496D-9199-853EEBDEDBD5}" dt="2024-09-06T03:13:08.356" v="7482" actId="1035"/>
        <pc:sldMkLst>
          <pc:docMk/>
          <pc:sldMk cId="1842373759" sldId="2147471718"/>
        </pc:sldMkLst>
        <pc:spChg chg="mod">
          <ac:chgData name="Connor Xu" userId="a2fa5610-7f85-41f8-9630-afc02cec4fa9" providerId="ADAL" clId="{39D5BF1A-0EE9-496D-9199-853EEBDEDBD5}" dt="2024-09-06T03:01:02.322" v="6798" actId="20577"/>
          <ac:spMkLst>
            <pc:docMk/>
            <pc:sldMk cId="1842373759" sldId="2147471718"/>
            <ac:spMk id="2" creationId="{9754081A-4956-F354-4F50-A6E49C819B0C}"/>
          </ac:spMkLst>
        </pc:spChg>
        <pc:spChg chg="mod">
          <ac:chgData name="Connor Xu" userId="a2fa5610-7f85-41f8-9630-afc02cec4fa9" providerId="ADAL" clId="{39D5BF1A-0EE9-496D-9199-853EEBDEDBD5}" dt="2024-09-06T02:58:48.461" v="6444" actId="20577"/>
          <ac:spMkLst>
            <pc:docMk/>
            <pc:sldMk cId="1842373759" sldId="2147471718"/>
            <ac:spMk id="3" creationId="{3F1FE9C0-6972-1CFC-DDB0-1B4B1D87D0B9}"/>
          </ac:spMkLst>
        </pc:spChg>
        <pc:spChg chg="mod">
          <ac:chgData name="Connor Xu" userId="a2fa5610-7f85-41f8-9630-afc02cec4fa9" providerId="ADAL" clId="{39D5BF1A-0EE9-496D-9199-853EEBDEDBD5}" dt="2024-09-06T02:59:37.387" v="6467"/>
          <ac:spMkLst>
            <pc:docMk/>
            <pc:sldMk cId="1842373759" sldId="2147471718"/>
            <ac:spMk id="13" creationId="{77C6C9BC-972E-0185-8875-C70E99BC106D}"/>
          </ac:spMkLst>
        </pc:spChg>
        <pc:spChg chg="mod">
          <ac:chgData name="Connor Xu" userId="a2fa5610-7f85-41f8-9630-afc02cec4fa9" providerId="ADAL" clId="{39D5BF1A-0EE9-496D-9199-853EEBDEDBD5}" dt="2024-09-06T02:59:37.387" v="6467"/>
          <ac:spMkLst>
            <pc:docMk/>
            <pc:sldMk cId="1842373759" sldId="2147471718"/>
            <ac:spMk id="14" creationId="{E4E8DA39-5D43-1F45-91F2-F96B40795196}"/>
          </ac:spMkLst>
        </pc:spChg>
        <pc:spChg chg="mod">
          <ac:chgData name="Connor Xu" userId="a2fa5610-7f85-41f8-9630-afc02cec4fa9" providerId="ADAL" clId="{39D5BF1A-0EE9-496D-9199-853EEBDEDBD5}" dt="2024-09-06T02:59:37.387" v="6467"/>
          <ac:spMkLst>
            <pc:docMk/>
            <pc:sldMk cId="1842373759" sldId="2147471718"/>
            <ac:spMk id="15" creationId="{39DD598F-1823-1EDC-E5DB-0E721F639972}"/>
          </ac:spMkLst>
        </pc:spChg>
        <pc:spChg chg="mod">
          <ac:chgData name="Connor Xu" userId="a2fa5610-7f85-41f8-9630-afc02cec4fa9" providerId="ADAL" clId="{39D5BF1A-0EE9-496D-9199-853EEBDEDBD5}" dt="2024-09-06T02:59:37.387" v="6467"/>
          <ac:spMkLst>
            <pc:docMk/>
            <pc:sldMk cId="1842373759" sldId="2147471718"/>
            <ac:spMk id="16" creationId="{3A9E626F-5D01-F510-BF4B-5C642054E960}"/>
          </ac:spMkLst>
        </pc:spChg>
        <pc:spChg chg="mod">
          <ac:chgData name="Connor Xu" userId="a2fa5610-7f85-41f8-9630-afc02cec4fa9" providerId="ADAL" clId="{39D5BF1A-0EE9-496D-9199-853EEBDEDBD5}" dt="2024-09-06T02:59:37.387" v="6467"/>
          <ac:spMkLst>
            <pc:docMk/>
            <pc:sldMk cId="1842373759" sldId="2147471718"/>
            <ac:spMk id="18" creationId="{A5D1F747-B198-AB40-5631-341001E9DBE6}"/>
          </ac:spMkLst>
        </pc:spChg>
        <pc:spChg chg="mod">
          <ac:chgData name="Connor Xu" userId="a2fa5610-7f85-41f8-9630-afc02cec4fa9" providerId="ADAL" clId="{39D5BF1A-0EE9-496D-9199-853EEBDEDBD5}" dt="2024-09-06T02:59:37.387" v="6467"/>
          <ac:spMkLst>
            <pc:docMk/>
            <pc:sldMk cId="1842373759" sldId="2147471718"/>
            <ac:spMk id="19" creationId="{A174162E-C551-571A-5E63-EA64D6A01A4E}"/>
          </ac:spMkLst>
        </pc:spChg>
        <pc:spChg chg="mod">
          <ac:chgData name="Connor Xu" userId="a2fa5610-7f85-41f8-9630-afc02cec4fa9" providerId="ADAL" clId="{39D5BF1A-0EE9-496D-9199-853EEBDEDBD5}" dt="2024-09-06T02:59:37.387" v="6467"/>
          <ac:spMkLst>
            <pc:docMk/>
            <pc:sldMk cId="1842373759" sldId="2147471718"/>
            <ac:spMk id="20" creationId="{CF2A147D-A977-BD65-14FB-63B45B29D3DD}"/>
          </ac:spMkLst>
        </pc:spChg>
        <pc:spChg chg="mod">
          <ac:chgData name="Connor Xu" userId="a2fa5610-7f85-41f8-9630-afc02cec4fa9" providerId="ADAL" clId="{39D5BF1A-0EE9-496D-9199-853EEBDEDBD5}" dt="2024-09-06T02:59:37.387" v="6467"/>
          <ac:spMkLst>
            <pc:docMk/>
            <pc:sldMk cId="1842373759" sldId="2147471718"/>
            <ac:spMk id="22" creationId="{97F9FF89-5A9D-7A74-C483-C010E20FDC22}"/>
          </ac:spMkLst>
        </pc:spChg>
        <pc:spChg chg="mod">
          <ac:chgData name="Connor Xu" userId="a2fa5610-7f85-41f8-9630-afc02cec4fa9" providerId="ADAL" clId="{39D5BF1A-0EE9-496D-9199-853EEBDEDBD5}" dt="2024-09-06T02:59:37.387" v="6467"/>
          <ac:spMkLst>
            <pc:docMk/>
            <pc:sldMk cId="1842373759" sldId="2147471718"/>
            <ac:spMk id="24" creationId="{AFD58119-7663-220B-B4D6-6EC7F927318D}"/>
          </ac:spMkLst>
        </pc:spChg>
        <pc:spChg chg="mod">
          <ac:chgData name="Connor Xu" userId="a2fa5610-7f85-41f8-9630-afc02cec4fa9" providerId="ADAL" clId="{39D5BF1A-0EE9-496D-9199-853EEBDEDBD5}" dt="2024-09-06T02:59:37.387" v="6467"/>
          <ac:spMkLst>
            <pc:docMk/>
            <pc:sldMk cId="1842373759" sldId="2147471718"/>
            <ac:spMk id="27" creationId="{E206B884-6B6F-3FDF-A93C-53655F634402}"/>
          </ac:spMkLst>
        </pc:spChg>
        <pc:spChg chg="mod">
          <ac:chgData name="Connor Xu" userId="a2fa5610-7f85-41f8-9630-afc02cec4fa9" providerId="ADAL" clId="{39D5BF1A-0EE9-496D-9199-853EEBDEDBD5}" dt="2024-09-06T02:59:37.387" v="6467"/>
          <ac:spMkLst>
            <pc:docMk/>
            <pc:sldMk cId="1842373759" sldId="2147471718"/>
            <ac:spMk id="28" creationId="{D0B9EAC7-7185-A028-E8CC-0966EEC98622}"/>
          </ac:spMkLst>
        </pc:spChg>
        <pc:spChg chg="mod">
          <ac:chgData name="Connor Xu" userId="a2fa5610-7f85-41f8-9630-afc02cec4fa9" providerId="ADAL" clId="{39D5BF1A-0EE9-496D-9199-853EEBDEDBD5}" dt="2024-09-06T02:59:37.387" v="6467"/>
          <ac:spMkLst>
            <pc:docMk/>
            <pc:sldMk cId="1842373759" sldId="2147471718"/>
            <ac:spMk id="30" creationId="{BEDE97C4-A512-119E-272C-F2CD7CF8C100}"/>
          </ac:spMkLst>
        </pc:spChg>
        <pc:spChg chg="mod">
          <ac:chgData name="Connor Xu" userId="a2fa5610-7f85-41f8-9630-afc02cec4fa9" providerId="ADAL" clId="{39D5BF1A-0EE9-496D-9199-853EEBDEDBD5}" dt="2024-09-06T02:59:37.387" v="6467"/>
          <ac:spMkLst>
            <pc:docMk/>
            <pc:sldMk cId="1842373759" sldId="2147471718"/>
            <ac:spMk id="31" creationId="{89C8BD4B-18A9-38BA-7A10-9FE73851E7BA}"/>
          </ac:spMkLst>
        </pc:spChg>
        <pc:spChg chg="mod">
          <ac:chgData name="Connor Xu" userId="a2fa5610-7f85-41f8-9630-afc02cec4fa9" providerId="ADAL" clId="{39D5BF1A-0EE9-496D-9199-853EEBDEDBD5}" dt="2024-09-06T02:59:37.387" v="6467"/>
          <ac:spMkLst>
            <pc:docMk/>
            <pc:sldMk cId="1842373759" sldId="2147471718"/>
            <ac:spMk id="32" creationId="{A0E90789-4186-E34B-50BB-93DEBC9D05BB}"/>
          </ac:spMkLst>
        </pc:spChg>
        <pc:spChg chg="mod">
          <ac:chgData name="Connor Xu" userId="a2fa5610-7f85-41f8-9630-afc02cec4fa9" providerId="ADAL" clId="{39D5BF1A-0EE9-496D-9199-853EEBDEDBD5}" dt="2024-09-06T02:59:37.387" v="6467"/>
          <ac:spMkLst>
            <pc:docMk/>
            <pc:sldMk cId="1842373759" sldId="2147471718"/>
            <ac:spMk id="34" creationId="{A8F92982-9A54-3C80-74C7-6C27354C17D6}"/>
          </ac:spMkLst>
        </pc:spChg>
        <pc:spChg chg="mod">
          <ac:chgData name="Connor Xu" userId="a2fa5610-7f85-41f8-9630-afc02cec4fa9" providerId="ADAL" clId="{39D5BF1A-0EE9-496D-9199-853EEBDEDBD5}" dt="2024-09-06T02:59:37.387" v="6467"/>
          <ac:spMkLst>
            <pc:docMk/>
            <pc:sldMk cId="1842373759" sldId="2147471718"/>
            <ac:spMk id="36" creationId="{3D0AE739-B340-2A2D-F186-FA8443FE70CF}"/>
          </ac:spMkLst>
        </pc:spChg>
        <pc:spChg chg="mod">
          <ac:chgData name="Connor Xu" userId="a2fa5610-7f85-41f8-9630-afc02cec4fa9" providerId="ADAL" clId="{39D5BF1A-0EE9-496D-9199-853EEBDEDBD5}" dt="2024-09-06T02:59:37.387" v="6467"/>
          <ac:spMkLst>
            <pc:docMk/>
            <pc:sldMk cId="1842373759" sldId="2147471718"/>
            <ac:spMk id="38" creationId="{F8794F89-EA7E-5692-CAE3-7A6CF37B2389}"/>
          </ac:spMkLst>
        </pc:spChg>
        <pc:spChg chg="mod">
          <ac:chgData name="Connor Xu" userId="a2fa5610-7f85-41f8-9630-afc02cec4fa9" providerId="ADAL" clId="{39D5BF1A-0EE9-496D-9199-853EEBDEDBD5}" dt="2024-09-06T02:59:37.387" v="6467"/>
          <ac:spMkLst>
            <pc:docMk/>
            <pc:sldMk cId="1842373759" sldId="2147471718"/>
            <ac:spMk id="39" creationId="{2DAE7010-E6B7-E343-6F49-A4B12F59935A}"/>
          </ac:spMkLst>
        </pc:spChg>
        <pc:spChg chg="mod">
          <ac:chgData name="Connor Xu" userId="a2fa5610-7f85-41f8-9630-afc02cec4fa9" providerId="ADAL" clId="{39D5BF1A-0EE9-496D-9199-853EEBDEDBD5}" dt="2024-09-06T02:59:37.387" v="6467"/>
          <ac:spMkLst>
            <pc:docMk/>
            <pc:sldMk cId="1842373759" sldId="2147471718"/>
            <ac:spMk id="40" creationId="{0D880003-C684-0721-42A9-8C925868F2B4}"/>
          </ac:spMkLst>
        </pc:spChg>
        <pc:spChg chg="mod">
          <ac:chgData name="Connor Xu" userId="a2fa5610-7f85-41f8-9630-afc02cec4fa9" providerId="ADAL" clId="{39D5BF1A-0EE9-496D-9199-853EEBDEDBD5}" dt="2024-09-06T02:59:37.387" v="6467"/>
          <ac:spMkLst>
            <pc:docMk/>
            <pc:sldMk cId="1842373759" sldId="2147471718"/>
            <ac:spMk id="41" creationId="{994B61C3-76CB-0285-5F80-3FF8443EB2C1}"/>
          </ac:spMkLst>
        </pc:spChg>
        <pc:spChg chg="mod">
          <ac:chgData name="Connor Xu" userId="a2fa5610-7f85-41f8-9630-afc02cec4fa9" providerId="ADAL" clId="{39D5BF1A-0EE9-496D-9199-853EEBDEDBD5}" dt="2024-09-06T02:59:37.387" v="6467"/>
          <ac:spMkLst>
            <pc:docMk/>
            <pc:sldMk cId="1842373759" sldId="2147471718"/>
            <ac:spMk id="44" creationId="{90E14633-C9B0-F8D2-1C6B-C613C482AD1A}"/>
          </ac:spMkLst>
        </pc:spChg>
        <pc:spChg chg="mod">
          <ac:chgData name="Connor Xu" userId="a2fa5610-7f85-41f8-9630-afc02cec4fa9" providerId="ADAL" clId="{39D5BF1A-0EE9-496D-9199-853EEBDEDBD5}" dt="2024-09-06T02:59:37.387" v="6467"/>
          <ac:spMkLst>
            <pc:docMk/>
            <pc:sldMk cId="1842373759" sldId="2147471718"/>
            <ac:spMk id="46" creationId="{F525A94A-7AB8-BBE9-EC35-B35AFF739010}"/>
          </ac:spMkLst>
        </pc:spChg>
        <pc:spChg chg="mod">
          <ac:chgData name="Connor Xu" userId="a2fa5610-7f85-41f8-9630-afc02cec4fa9" providerId="ADAL" clId="{39D5BF1A-0EE9-496D-9199-853EEBDEDBD5}" dt="2024-09-06T02:59:37.387" v="6467"/>
          <ac:spMkLst>
            <pc:docMk/>
            <pc:sldMk cId="1842373759" sldId="2147471718"/>
            <ac:spMk id="48" creationId="{1FEE5861-7E0D-55F8-3C65-AE2A10235555}"/>
          </ac:spMkLst>
        </pc:spChg>
        <pc:spChg chg="mod">
          <ac:chgData name="Connor Xu" userId="a2fa5610-7f85-41f8-9630-afc02cec4fa9" providerId="ADAL" clId="{39D5BF1A-0EE9-496D-9199-853EEBDEDBD5}" dt="2024-09-06T02:59:37.387" v="6467"/>
          <ac:spMkLst>
            <pc:docMk/>
            <pc:sldMk cId="1842373759" sldId="2147471718"/>
            <ac:spMk id="49" creationId="{B5399382-CE39-B7EA-4A18-E10764C1B4AD}"/>
          </ac:spMkLst>
        </pc:spChg>
        <pc:spChg chg="mod">
          <ac:chgData name="Connor Xu" userId="a2fa5610-7f85-41f8-9630-afc02cec4fa9" providerId="ADAL" clId="{39D5BF1A-0EE9-496D-9199-853EEBDEDBD5}" dt="2024-09-06T02:59:37.387" v="6467"/>
          <ac:spMkLst>
            <pc:docMk/>
            <pc:sldMk cId="1842373759" sldId="2147471718"/>
            <ac:spMk id="50" creationId="{79E73FE8-ECB7-8B11-DF22-4C974471F7B4}"/>
          </ac:spMkLst>
        </pc:spChg>
        <pc:spChg chg="mod">
          <ac:chgData name="Connor Xu" userId="a2fa5610-7f85-41f8-9630-afc02cec4fa9" providerId="ADAL" clId="{39D5BF1A-0EE9-496D-9199-853EEBDEDBD5}" dt="2024-09-06T02:59:39.728" v="6468"/>
          <ac:spMkLst>
            <pc:docMk/>
            <pc:sldMk cId="1842373759" sldId="2147471718"/>
            <ac:spMk id="60" creationId="{0316312D-5387-B45B-B0E3-0CCDA53B9A8B}"/>
          </ac:spMkLst>
        </pc:spChg>
        <pc:spChg chg="mod">
          <ac:chgData name="Connor Xu" userId="a2fa5610-7f85-41f8-9630-afc02cec4fa9" providerId="ADAL" clId="{39D5BF1A-0EE9-496D-9199-853EEBDEDBD5}" dt="2024-09-06T02:59:39.728" v="6468"/>
          <ac:spMkLst>
            <pc:docMk/>
            <pc:sldMk cId="1842373759" sldId="2147471718"/>
            <ac:spMk id="61" creationId="{F6E16A97-93CD-BC44-BE10-AE9356EDF4BB}"/>
          </ac:spMkLst>
        </pc:spChg>
        <pc:spChg chg="mod">
          <ac:chgData name="Connor Xu" userId="a2fa5610-7f85-41f8-9630-afc02cec4fa9" providerId="ADAL" clId="{39D5BF1A-0EE9-496D-9199-853EEBDEDBD5}" dt="2024-09-06T02:59:39.728" v="6468"/>
          <ac:spMkLst>
            <pc:docMk/>
            <pc:sldMk cId="1842373759" sldId="2147471718"/>
            <ac:spMk id="62" creationId="{E33207FD-AB5B-E407-DABD-B26BD0AFDB63}"/>
          </ac:spMkLst>
        </pc:spChg>
        <pc:spChg chg="mod">
          <ac:chgData name="Connor Xu" userId="a2fa5610-7f85-41f8-9630-afc02cec4fa9" providerId="ADAL" clId="{39D5BF1A-0EE9-496D-9199-853EEBDEDBD5}" dt="2024-09-06T02:59:39.728" v="6468"/>
          <ac:spMkLst>
            <pc:docMk/>
            <pc:sldMk cId="1842373759" sldId="2147471718"/>
            <ac:spMk id="63" creationId="{97D92713-C7CB-66EE-562B-FC6370ED4D72}"/>
          </ac:spMkLst>
        </pc:spChg>
        <pc:spChg chg="mod">
          <ac:chgData name="Connor Xu" userId="a2fa5610-7f85-41f8-9630-afc02cec4fa9" providerId="ADAL" clId="{39D5BF1A-0EE9-496D-9199-853EEBDEDBD5}" dt="2024-09-06T02:59:39.728" v="6468"/>
          <ac:spMkLst>
            <pc:docMk/>
            <pc:sldMk cId="1842373759" sldId="2147471718"/>
            <ac:spMk id="65" creationId="{25ED17ED-6E40-5791-CA1B-A05539CEC826}"/>
          </ac:spMkLst>
        </pc:spChg>
        <pc:spChg chg="mod">
          <ac:chgData name="Connor Xu" userId="a2fa5610-7f85-41f8-9630-afc02cec4fa9" providerId="ADAL" clId="{39D5BF1A-0EE9-496D-9199-853EEBDEDBD5}" dt="2024-09-06T02:59:39.728" v="6468"/>
          <ac:spMkLst>
            <pc:docMk/>
            <pc:sldMk cId="1842373759" sldId="2147471718"/>
            <ac:spMk id="66" creationId="{DAA84196-A4F6-ADBE-7E9D-B9C95E945FA7}"/>
          </ac:spMkLst>
        </pc:spChg>
        <pc:spChg chg="mod">
          <ac:chgData name="Connor Xu" userId="a2fa5610-7f85-41f8-9630-afc02cec4fa9" providerId="ADAL" clId="{39D5BF1A-0EE9-496D-9199-853EEBDEDBD5}" dt="2024-09-06T02:59:39.728" v="6468"/>
          <ac:spMkLst>
            <pc:docMk/>
            <pc:sldMk cId="1842373759" sldId="2147471718"/>
            <ac:spMk id="67" creationId="{BE0763F1-D9A7-058C-A389-1A7BE0A7A493}"/>
          </ac:spMkLst>
        </pc:spChg>
        <pc:spChg chg="mod">
          <ac:chgData name="Connor Xu" userId="a2fa5610-7f85-41f8-9630-afc02cec4fa9" providerId="ADAL" clId="{39D5BF1A-0EE9-496D-9199-853EEBDEDBD5}" dt="2024-09-06T02:59:39.728" v="6468"/>
          <ac:spMkLst>
            <pc:docMk/>
            <pc:sldMk cId="1842373759" sldId="2147471718"/>
            <ac:spMk id="69" creationId="{3D984AC3-ED26-6882-538E-AC565D3D8119}"/>
          </ac:spMkLst>
        </pc:spChg>
        <pc:spChg chg="mod">
          <ac:chgData name="Connor Xu" userId="a2fa5610-7f85-41f8-9630-afc02cec4fa9" providerId="ADAL" clId="{39D5BF1A-0EE9-496D-9199-853EEBDEDBD5}" dt="2024-09-06T02:59:39.728" v="6468"/>
          <ac:spMkLst>
            <pc:docMk/>
            <pc:sldMk cId="1842373759" sldId="2147471718"/>
            <ac:spMk id="71" creationId="{D46699A1-B142-09EA-50B6-5120A4691CEA}"/>
          </ac:spMkLst>
        </pc:spChg>
        <pc:spChg chg="mod">
          <ac:chgData name="Connor Xu" userId="a2fa5610-7f85-41f8-9630-afc02cec4fa9" providerId="ADAL" clId="{39D5BF1A-0EE9-496D-9199-853EEBDEDBD5}" dt="2024-09-06T02:59:39.728" v="6468"/>
          <ac:spMkLst>
            <pc:docMk/>
            <pc:sldMk cId="1842373759" sldId="2147471718"/>
            <ac:spMk id="74" creationId="{A4825B46-8DF0-1293-7A78-8BBFBD46B041}"/>
          </ac:spMkLst>
        </pc:spChg>
        <pc:spChg chg="mod">
          <ac:chgData name="Connor Xu" userId="a2fa5610-7f85-41f8-9630-afc02cec4fa9" providerId="ADAL" clId="{39D5BF1A-0EE9-496D-9199-853EEBDEDBD5}" dt="2024-09-06T02:59:39.728" v="6468"/>
          <ac:spMkLst>
            <pc:docMk/>
            <pc:sldMk cId="1842373759" sldId="2147471718"/>
            <ac:spMk id="75" creationId="{A83E29DF-85FC-E96E-D9EA-D2C00904B15B}"/>
          </ac:spMkLst>
        </pc:spChg>
        <pc:spChg chg="mod">
          <ac:chgData name="Connor Xu" userId="a2fa5610-7f85-41f8-9630-afc02cec4fa9" providerId="ADAL" clId="{39D5BF1A-0EE9-496D-9199-853EEBDEDBD5}" dt="2024-09-06T02:59:39.728" v="6468"/>
          <ac:spMkLst>
            <pc:docMk/>
            <pc:sldMk cId="1842373759" sldId="2147471718"/>
            <ac:spMk id="77" creationId="{6F8C0753-B549-6503-E96C-A31CB25D65A2}"/>
          </ac:spMkLst>
        </pc:spChg>
        <pc:spChg chg="mod">
          <ac:chgData name="Connor Xu" userId="a2fa5610-7f85-41f8-9630-afc02cec4fa9" providerId="ADAL" clId="{39D5BF1A-0EE9-496D-9199-853EEBDEDBD5}" dt="2024-09-06T02:59:39.728" v="6468"/>
          <ac:spMkLst>
            <pc:docMk/>
            <pc:sldMk cId="1842373759" sldId="2147471718"/>
            <ac:spMk id="78" creationId="{3DB897E6-725B-DB28-D919-E100DE92B5FA}"/>
          </ac:spMkLst>
        </pc:spChg>
        <pc:spChg chg="mod">
          <ac:chgData name="Connor Xu" userId="a2fa5610-7f85-41f8-9630-afc02cec4fa9" providerId="ADAL" clId="{39D5BF1A-0EE9-496D-9199-853EEBDEDBD5}" dt="2024-09-06T02:59:39.728" v="6468"/>
          <ac:spMkLst>
            <pc:docMk/>
            <pc:sldMk cId="1842373759" sldId="2147471718"/>
            <ac:spMk id="79" creationId="{D8709A51-274A-1414-AB42-15B409CFB2DC}"/>
          </ac:spMkLst>
        </pc:spChg>
        <pc:spChg chg="mod">
          <ac:chgData name="Connor Xu" userId="a2fa5610-7f85-41f8-9630-afc02cec4fa9" providerId="ADAL" clId="{39D5BF1A-0EE9-496D-9199-853EEBDEDBD5}" dt="2024-09-06T02:59:39.728" v="6468"/>
          <ac:spMkLst>
            <pc:docMk/>
            <pc:sldMk cId="1842373759" sldId="2147471718"/>
            <ac:spMk id="81" creationId="{0D2833AE-73A9-9A3D-4B49-F40C9D404234}"/>
          </ac:spMkLst>
        </pc:spChg>
        <pc:spChg chg="mod">
          <ac:chgData name="Connor Xu" userId="a2fa5610-7f85-41f8-9630-afc02cec4fa9" providerId="ADAL" clId="{39D5BF1A-0EE9-496D-9199-853EEBDEDBD5}" dt="2024-09-06T02:59:39.728" v="6468"/>
          <ac:spMkLst>
            <pc:docMk/>
            <pc:sldMk cId="1842373759" sldId="2147471718"/>
            <ac:spMk id="83" creationId="{212DE4E2-2A30-9899-D450-234630F87B04}"/>
          </ac:spMkLst>
        </pc:spChg>
        <pc:spChg chg="mod">
          <ac:chgData name="Connor Xu" userId="a2fa5610-7f85-41f8-9630-afc02cec4fa9" providerId="ADAL" clId="{39D5BF1A-0EE9-496D-9199-853EEBDEDBD5}" dt="2024-09-06T02:59:39.728" v="6468"/>
          <ac:spMkLst>
            <pc:docMk/>
            <pc:sldMk cId="1842373759" sldId="2147471718"/>
            <ac:spMk id="85" creationId="{0C1D95A9-77FE-7C61-7C95-F9AD6462C31D}"/>
          </ac:spMkLst>
        </pc:spChg>
        <pc:spChg chg="mod">
          <ac:chgData name="Connor Xu" userId="a2fa5610-7f85-41f8-9630-afc02cec4fa9" providerId="ADAL" clId="{39D5BF1A-0EE9-496D-9199-853EEBDEDBD5}" dt="2024-09-06T02:59:39.728" v="6468"/>
          <ac:spMkLst>
            <pc:docMk/>
            <pc:sldMk cId="1842373759" sldId="2147471718"/>
            <ac:spMk id="86" creationId="{9E187D75-C2C8-9D26-3B1F-95F2FE56576B}"/>
          </ac:spMkLst>
        </pc:spChg>
        <pc:spChg chg="mod">
          <ac:chgData name="Connor Xu" userId="a2fa5610-7f85-41f8-9630-afc02cec4fa9" providerId="ADAL" clId="{39D5BF1A-0EE9-496D-9199-853EEBDEDBD5}" dt="2024-09-06T02:59:39.728" v="6468"/>
          <ac:spMkLst>
            <pc:docMk/>
            <pc:sldMk cId="1842373759" sldId="2147471718"/>
            <ac:spMk id="87" creationId="{85366012-6FE3-5FB0-4011-67A98D3736D1}"/>
          </ac:spMkLst>
        </pc:spChg>
        <pc:spChg chg="mod">
          <ac:chgData name="Connor Xu" userId="a2fa5610-7f85-41f8-9630-afc02cec4fa9" providerId="ADAL" clId="{39D5BF1A-0EE9-496D-9199-853EEBDEDBD5}" dt="2024-09-06T02:59:39.728" v="6468"/>
          <ac:spMkLst>
            <pc:docMk/>
            <pc:sldMk cId="1842373759" sldId="2147471718"/>
            <ac:spMk id="88" creationId="{453C60D3-B315-7C03-9F4A-9989D527F0F9}"/>
          </ac:spMkLst>
        </pc:spChg>
        <pc:spChg chg="mod">
          <ac:chgData name="Connor Xu" userId="a2fa5610-7f85-41f8-9630-afc02cec4fa9" providerId="ADAL" clId="{39D5BF1A-0EE9-496D-9199-853EEBDEDBD5}" dt="2024-09-06T02:59:39.728" v="6468"/>
          <ac:spMkLst>
            <pc:docMk/>
            <pc:sldMk cId="1842373759" sldId="2147471718"/>
            <ac:spMk id="91" creationId="{394DD2B7-100D-361C-D491-C8004F693594}"/>
          </ac:spMkLst>
        </pc:spChg>
        <pc:spChg chg="mod">
          <ac:chgData name="Connor Xu" userId="a2fa5610-7f85-41f8-9630-afc02cec4fa9" providerId="ADAL" clId="{39D5BF1A-0EE9-496D-9199-853EEBDEDBD5}" dt="2024-09-06T02:59:39.728" v="6468"/>
          <ac:spMkLst>
            <pc:docMk/>
            <pc:sldMk cId="1842373759" sldId="2147471718"/>
            <ac:spMk id="93" creationId="{60538908-1D3C-8FDD-E9AA-B954A534571F}"/>
          </ac:spMkLst>
        </pc:spChg>
        <pc:spChg chg="mod">
          <ac:chgData name="Connor Xu" userId="a2fa5610-7f85-41f8-9630-afc02cec4fa9" providerId="ADAL" clId="{39D5BF1A-0EE9-496D-9199-853EEBDEDBD5}" dt="2024-09-06T02:59:39.728" v="6468"/>
          <ac:spMkLst>
            <pc:docMk/>
            <pc:sldMk cId="1842373759" sldId="2147471718"/>
            <ac:spMk id="95" creationId="{84914F41-7A68-F3A5-8F2A-4D49DD49ACDF}"/>
          </ac:spMkLst>
        </pc:spChg>
        <pc:spChg chg="mod">
          <ac:chgData name="Connor Xu" userId="a2fa5610-7f85-41f8-9630-afc02cec4fa9" providerId="ADAL" clId="{39D5BF1A-0EE9-496D-9199-853EEBDEDBD5}" dt="2024-09-06T02:59:39.728" v="6468"/>
          <ac:spMkLst>
            <pc:docMk/>
            <pc:sldMk cId="1842373759" sldId="2147471718"/>
            <ac:spMk id="96" creationId="{D10D9454-60FF-1028-1ADE-77B70A2A7E9F}"/>
          </ac:spMkLst>
        </pc:spChg>
        <pc:spChg chg="mod">
          <ac:chgData name="Connor Xu" userId="a2fa5610-7f85-41f8-9630-afc02cec4fa9" providerId="ADAL" clId="{39D5BF1A-0EE9-496D-9199-853EEBDEDBD5}" dt="2024-09-06T02:59:39.728" v="6468"/>
          <ac:spMkLst>
            <pc:docMk/>
            <pc:sldMk cId="1842373759" sldId="2147471718"/>
            <ac:spMk id="97" creationId="{C50B9151-4D41-FD88-C62D-612B94B14CA7}"/>
          </ac:spMkLst>
        </pc:spChg>
        <pc:spChg chg="mod topLvl">
          <ac:chgData name="Connor Xu" userId="a2fa5610-7f85-41f8-9630-afc02cec4fa9" providerId="ADAL" clId="{39D5BF1A-0EE9-496D-9199-853EEBDEDBD5}" dt="2024-09-06T03:13:08.356" v="7482" actId="1035"/>
          <ac:spMkLst>
            <pc:docMk/>
            <pc:sldMk cId="1842373759" sldId="2147471718"/>
            <ac:spMk id="100" creationId="{A0C5B443-FDFC-11E8-ED6F-582BD0CDAEDA}"/>
          </ac:spMkLst>
        </pc:spChg>
        <pc:spChg chg="mod topLvl">
          <ac:chgData name="Connor Xu" userId="a2fa5610-7f85-41f8-9630-afc02cec4fa9" providerId="ADAL" clId="{39D5BF1A-0EE9-496D-9199-853EEBDEDBD5}" dt="2024-09-06T03:13:08.356" v="7482" actId="1035"/>
          <ac:spMkLst>
            <pc:docMk/>
            <pc:sldMk cId="1842373759" sldId="2147471718"/>
            <ac:spMk id="101" creationId="{68F84CC5-41F4-318E-05B4-BDF9C994E3E1}"/>
          </ac:spMkLst>
        </pc:spChg>
        <pc:spChg chg="mod topLvl">
          <ac:chgData name="Connor Xu" userId="a2fa5610-7f85-41f8-9630-afc02cec4fa9" providerId="ADAL" clId="{39D5BF1A-0EE9-496D-9199-853EEBDEDBD5}" dt="2024-09-06T03:13:08.356" v="7482" actId="1035"/>
          <ac:spMkLst>
            <pc:docMk/>
            <pc:sldMk cId="1842373759" sldId="2147471718"/>
            <ac:spMk id="102" creationId="{D9A0702F-29FD-21C7-28C2-BB6D0682C472}"/>
          </ac:spMkLst>
        </pc:spChg>
        <pc:spChg chg="mod topLvl">
          <ac:chgData name="Connor Xu" userId="a2fa5610-7f85-41f8-9630-afc02cec4fa9" providerId="ADAL" clId="{39D5BF1A-0EE9-496D-9199-853EEBDEDBD5}" dt="2024-09-06T03:07:28.512" v="7087" actId="1037"/>
          <ac:spMkLst>
            <pc:docMk/>
            <pc:sldMk cId="1842373759" sldId="2147471718"/>
            <ac:spMk id="104" creationId="{446AA7B6-9DCB-112A-9662-8E6EA5228F3B}"/>
          </ac:spMkLst>
        </pc:spChg>
        <pc:spChg chg="mod topLvl">
          <ac:chgData name="Connor Xu" userId="a2fa5610-7f85-41f8-9630-afc02cec4fa9" providerId="ADAL" clId="{39D5BF1A-0EE9-496D-9199-853EEBDEDBD5}" dt="2024-09-06T03:07:16.967" v="7068" actId="165"/>
          <ac:spMkLst>
            <pc:docMk/>
            <pc:sldMk cId="1842373759" sldId="2147471718"/>
            <ac:spMk id="105" creationId="{0ACC1D09-FA23-4299-5C96-972FF90790DC}"/>
          </ac:spMkLst>
        </pc:spChg>
        <pc:spChg chg="mod topLvl">
          <ac:chgData name="Connor Xu" userId="a2fa5610-7f85-41f8-9630-afc02cec4fa9" providerId="ADAL" clId="{39D5BF1A-0EE9-496D-9199-853EEBDEDBD5}" dt="2024-09-06T03:08:38.318" v="7277" actId="14100"/>
          <ac:spMkLst>
            <pc:docMk/>
            <pc:sldMk cId="1842373759" sldId="2147471718"/>
            <ac:spMk id="106" creationId="{518262F7-B8BD-B2D9-7D5D-AC53F73B4401}"/>
          </ac:spMkLst>
        </pc:spChg>
        <pc:spChg chg="mod topLvl">
          <ac:chgData name="Connor Xu" userId="a2fa5610-7f85-41f8-9630-afc02cec4fa9" providerId="ADAL" clId="{39D5BF1A-0EE9-496D-9199-853EEBDEDBD5}" dt="2024-09-06T03:08:45.854" v="7279" actId="14100"/>
          <ac:spMkLst>
            <pc:docMk/>
            <pc:sldMk cId="1842373759" sldId="2147471718"/>
            <ac:spMk id="107" creationId="{BC0BE06A-E1E8-8146-12F5-FBAC62903588}"/>
          </ac:spMkLst>
        </pc:spChg>
        <pc:spChg chg="mod topLvl">
          <ac:chgData name="Connor Xu" userId="a2fa5610-7f85-41f8-9630-afc02cec4fa9" providerId="ADAL" clId="{39D5BF1A-0EE9-496D-9199-853EEBDEDBD5}" dt="2024-09-06T03:08:50.942" v="7281" actId="14100"/>
          <ac:spMkLst>
            <pc:docMk/>
            <pc:sldMk cId="1842373759" sldId="2147471718"/>
            <ac:spMk id="110" creationId="{7E2593C0-1E77-2F32-3A41-C49E03E3F02D}"/>
          </ac:spMkLst>
        </pc:spChg>
        <pc:spChg chg="mod topLvl">
          <ac:chgData name="Connor Xu" userId="a2fa5610-7f85-41f8-9630-afc02cec4fa9" providerId="ADAL" clId="{39D5BF1A-0EE9-496D-9199-853EEBDEDBD5}" dt="2024-09-06T03:09:32.682" v="7335" actId="552"/>
          <ac:spMkLst>
            <pc:docMk/>
            <pc:sldMk cId="1842373759" sldId="2147471718"/>
            <ac:spMk id="112" creationId="{490539A2-41AC-C6FD-AF64-B8AE5FA912C9}"/>
          </ac:spMkLst>
        </pc:spChg>
        <pc:spChg chg="mod topLvl">
          <ac:chgData name="Connor Xu" userId="a2fa5610-7f85-41f8-9630-afc02cec4fa9" providerId="ADAL" clId="{39D5BF1A-0EE9-496D-9199-853EEBDEDBD5}" dt="2024-09-06T03:12:49.090" v="7461" actId="552"/>
          <ac:spMkLst>
            <pc:docMk/>
            <pc:sldMk cId="1842373759" sldId="2147471718"/>
            <ac:spMk id="115" creationId="{2057C40B-D2C4-5BCA-6B13-550A1292560D}"/>
          </ac:spMkLst>
        </pc:spChg>
        <pc:spChg chg="mod topLvl">
          <ac:chgData name="Connor Xu" userId="a2fa5610-7f85-41f8-9630-afc02cec4fa9" providerId="ADAL" clId="{39D5BF1A-0EE9-496D-9199-853EEBDEDBD5}" dt="2024-09-06T03:07:16.967" v="7068" actId="165"/>
          <ac:spMkLst>
            <pc:docMk/>
            <pc:sldMk cId="1842373759" sldId="2147471718"/>
            <ac:spMk id="116" creationId="{11C930A0-A7B7-C547-B516-156FDABFEDFD}"/>
          </ac:spMkLst>
        </pc:spChg>
        <pc:spChg chg="mod topLvl">
          <ac:chgData name="Connor Xu" userId="a2fa5610-7f85-41f8-9630-afc02cec4fa9" providerId="ADAL" clId="{39D5BF1A-0EE9-496D-9199-853EEBDEDBD5}" dt="2024-09-06T03:08:42.418" v="7278" actId="14100"/>
          <ac:spMkLst>
            <pc:docMk/>
            <pc:sldMk cId="1842373759" sldId="2147471718"/>
            <ac:spMk id="117" creationId="{486FA825-4576-B19A-942D-81A230547157}"/>
          </ac:spMkLst>
        </pc:spChg>
        <pc:spChg chg="mod topLvl">
          <ac:chgData name="Connor Xu" userId="a2fa5610-7f85-41f8-9630-afc02cec4fa9" providerId="ADAL" clId="{39D5BF1A-0EE9-496D-9199-853EEBDEDBD5}" dt="2024-09-06T03:08:48.273" v="7280" actId="14100"/>
          <ac:spMkLst>
            <pc:docMk/>
            <pc:sldMk cId="1842373759" sldId="2147471718"/>
            <ac:spMk id="119" creationId="{20A59E98-55F8-3102-A75E-96D75E42DB2F}"/>
          </ac:spMkLst>
        </pc:spChg>
        <pc:spChg chg="mod topLvl">
          <ac:chgData name="Connor Xu" userId="a2fa5610-7f85-41f8-9630-afc02cec4fa9" providerId="ADAL" clId="{39D5BF1A-0EE9-496D-9199-853EEBDEDBD5}" dt="2024-09-06T03:11:39.379" v="7406" actId="553"/>
          <ac:spMkLst>
            <pc:docMk/>
            <pc:sldMk cId="1842373759" sldId="2147471718"/>
            <ac:spMk id="121" creationId="{2908881C-70C6-3DD8-9881-E559471651F6}"/>
          </ac:spMkLst>
        </pc:spChg>
        <pc:spChg chg="mod topLvl">
          <ac:chgData name="Connor Xu" userId="a2fa5610-7f85-41f8-9630-afc02cec4fa9" providerId="ADAL" clId="{39D5BF1A-0EE9-496D-9199-853EEBDEDBD5}" dt="2024-09-06T03:07:28.512" v="7087" actId="1037"/>
          <ac:spMkLst>
            <pc:docMk/>
            <pc:sldMk cId="1842373759" sldId="2147471718"/>
            <ac:spMk id="124" creationId="{BB910DE0-F72B-EC28-274F-5D483AE9FA29}"/>
          </ac:spMkLst>
        </pc:spChg>
        <pc:spChg chg="mod topLvl">
          <ac:chgData name="Connor Xu" userId="a2fa5610-7f85-41f8-9630-afc02cec4fa9" providerId="ADAL" clId="{39D5BF1A-0EE9-496D-9199-853EEBDEDBD5}" dt="2024-09-06T03:09:54.337" v="7336" actId="20577"/>
          <ac:spMkLst>
            <pc:docMk/>
            <pc:sldMk cId="1842373759" sldId="2147471718"/>
            <ac:spMk id="125" creationId="{3A243929-D5C4-037D-ED2D-A790D403DCE2}"/>
          </ac:spMkLst>
        </pc:spChg>
        <pc:spChg chg="mod topLvl">
          <ac:chgData name="Connor Xu" userId="a2fa5610-7f85-41f8-9630-afc02cec4fa9" providerId="ADAL" clId="{39D5BF1A-0EE9-496D-9199-853EEBDEDBD5}" dt="2024-09-06T03:09:12.012" v="7297" actId="1037"/>
          <ac:spMkLst>
            <pc:docMk/>
            <pc:sldMk cId="1842373759" sldId="2147471718"/>
            <ac:spMk id="126" creationId="{8331D53F-A161-C208-4821-0967CC9275ED}"/>
          </ac:spMkLst>
        </pc:spChg>
        <pc:spChg chg="mod topLvl">
          <ac:chgData name="Connor Xu" userId="a2fa5610-7f85-41f8-9630-afc02cec4fa9" providerId="ADAL" clId="{39D5BF1A-0EE9-496D-9199-853EEBDEDBD5}" dt="2024-09-06T03:09:20.205" v="7318" actId="1038"/>
          <ac:spMkLst>
            <pc:docMk/>
            <pc:sldMk cId="1842373759" sldId="2147471718"/>
            <ac:spMk id="128" creationId="{E7C6F926-AE2D-EB5C-2B7E-25D9B2012A5F}"/>
          </ac:spMkLst>
        </pc:spChg>
        <pc:spChg chg="mod topLvl">
          <ac:chgData name="Connor Xu" userId="a2fa5610-7f85-41f8-9630-afc02cec4fa9" providerId="ADAL" clId="{39D5BF1A-0EE9-496D-9199-853EEBDEDBD5}" dt="2024-09-06T03:09:25.932" v="7321" actId="1038"/>
          <ac:spMkLst>
            <pc:docMk/>
            <pc:sldMk cId="1842373759" sldId="2147471718"/>
            <ac:spMk id="130" creationId="{144EC818-3444-50CD-375E-2F9CB5E43D5E}"/>
          </ac:spMkLst>
        </pc:spChg>
        <pc:spChg chg="mod topLvl">
          <ac:chgData name="Connor Xu" userId="a2fa5610-7f85-41f8-9630-afc02cec4fa9" providerId="ADAL" clId="{39D5BF1A-0EE9-496D-9199-853EEBDEDBD5}" dt="2024-09-06T03:09:29.131" v="7334" actId="1037"/>
          <ac:spMkLst>
            <pc:docMk/>
            <pc:sldMk cId="1842373759" sldId="2147471718"/>
            <ac:spMk id="133" creationId="{3965C6D8-3EF3-8530-0C3E-11EE7C4A4489}"/>
          </ac:spMkLst>
        </pc:spChg>
        <pc:spChg chg="mod topLvl">
          <ac:chgData name="Connor Xu" userId="a2fa5610-7f85-41f8-9630-afc02cec4fa9" providerId="ADAL" clId="{39D5BF1A-0EE9-496D-9199-853EEBDEDBD5}" dt="2024-09-06T03:09:32.682" v="7335" actId="552"/>
          <ac:spMkLst>
            <pc:docMk/>
            <pc:sldMk cId="1842373759" sldId="2147471718"/>
            <ac:spMk id="134" creationId="{263A1651-47B3-A2D3-6407-7D9F9FC0E347}"/>
          </ac:spMkLst>
        </pc:spChg>
        <pc:spChg chg="mod topLvl">
          <ac:chgData name="Connor Xu" userId="a2fa5610-7f85-41f8-9630-afc02cec4fa9" providerId="ADAL" clId="{39D5BF1A-0EE9-496D-9199-853EEBDEDBD5}" dt="2024-09-06T03:07:28.512" v="7087" actId="1037"/>
          <ac:spMkLst>
            <pc:docMk/>
            <pc:sldMk cId="1842373759" sldId="2147471718"/>
            <ac:spMk id="139" creationId="{492C99CD-C3B8-270D-C1CD-EFFFC28537FE}"/>
          </ac:spMkLst>
        </pc:spChg>
        <pc:spChg chg="mod topLvl">
          <ac:chgData name="Connor Xu" userId="a2fa5610-7f85-41f8-9630-afc02cec4fa9" providerId="ADAL" clId="{39D5BF1A-0EE9-496D-9199-853EEBDEDBD5}" dt="2024-09-06T03:09:56.457" v="7337" actId="20577"/>
          <ac:spMkLst>
            <pc:docMk/>
            <pc:sldMk cId="1842373759" sldId="2147471718"/>
            <ac:spMk id="140" creationId="{D1F4567F-BF87-05A9-6FBA-EAC77187803E}"/>
          </ac:spMkLst>
        </pc:spChg>
        <pc:spChg chg="mod topLvl">
          <ac:chgData name="Connor Xu" userId="a2fa5610-7f85-41f8-9630-afc02cec4fa9" providerId="ADAL" clId="{39D5BF1A-0EE9-496D-9199-853EEBDEDBD5}" dt="2024-09-06T03:08:28.484" v="7275" actId="1037"/>
          <ac:spMkLst>
            <pc:docMk/>
            <pc:sldMk cId="1842373759" sldId="2147471718"/>
            <ac:spMk id="141" creationId="{3B4255E8-BB48-5CCF-0DA3-CC9696740A94}"/>
          </ac:spMkLst>
        </pc:spChg>
        <pc:spChg chg="mod topLvl">
          <ac:chgData name="Connor Xu" userId="a2fa5610-7f85-41f8-9630-afc02cec4fa9" providerId="ADAL" clId="{39D5BF1A-0EE9-496D-9199-853EEBDEDBD5}" dt="2024-09-06T03:09:32.682" v="7335" actId="552"/>
          <ac:spMkLst>
            <pc:docMk/>
            <pc:sldMk cId="1842373759" sldId="2147471718"/>
            <ac:spMk id="142" creationId="{52250399-945D-93D0-5DFB-0352BE989668}"/>
          </ac:spMkLst>
        </pc:spChg>
        <pc:grpChg chg="add mod">
          <ac:chgData name="Connor Xu" userId="a2fa5610-7f85-41f8-9630-afc02cec4fa9" providerId="ADAL" clId="{39D5BF1A-0EE9-496D-9199-853EEBDEDBD5}" dt="2024-09-06T02:59:37.387" v="6467"/>
          <ac:grpSpMkLst>
            <pc:docMk/>
            <pc:sldMk cId="1842373759" sldId="2147471718"/>
            <ac:grpSpMk id="4" creationId="{29D0475B-5CEE-F2EC-6262-948CEF883DA1}"/>
          </ac:grpSpMkLst>
        </pc:grpChg>
        <pc:grpChg chg="mod">
          <ac:chgData name="Connor Xu" userId="a2fa5610-7f85-41f8-9630-afc02cec4fa9" providerId="ADAL" clId="{39D5BF1A-0EE9-496D-9199-853EEBDEDBD5}" dt="2024-09-06T02:59:37.387" v="6467"/>
          <ac:grpSpMkLst>
            <pc:docMk/>
            <pc:sldMk cId="1842373759" sldId="2147471718"/>
            <ac:grpSpMk id="6" creationId="{8DA4F1D8-F9E6-4E80-C3D1-2A4C71D2DA99}"/>
          </ac:grpSpMkLst>
        </pc:grpChg>
        <pc:grpChg chg="mod">
          <ac:chgData name="Connor Xu" userId="a2fa5610-7f85-41f8-9630-afc02cec4fa9" providerId="ADAL" clId="{39D5BF1A-0EE9-496D-9199-853EEBDEDBD5}" dt="2024-09-06T02:59:37.387" v="6467"/>
          <ac:grpSpMkLst>
            <pc:docMk/>
            <pc:sldMk cId="1842373759" sldId="2147471718"/>
            <ac:grpSpMk id="7" creationId="{7ADF93A3-3D21-BFE7-42FC-B753699CBE60}"/>
          </ac:grpSpMkLst>
        </pc:grpChg>
        <pc:grpChg chg="mod">
          <ac:chgData name="Connor Xu" userId="a2fa5610-7f85-41f8-9630-afc02cec4fa9" providerId="ADAL" clId="{39D5BF1A-0EE9-496D-9199-853EEBDEDBD5}" dt="2024-09-06T02:59:37.387" v="6467"/>
          <ac:grpSpMkLst>
            <pc:docMk/>
            <pc:sldMk cId="1842373759" sldId="2147471718"/>
            <ac:grpSpMk id="8" creationId="{AEA978AA-A319-6073-0143-EA9290CA0D0E}"/>
          </ac:grpSpMkLst>
        </pc:grpChg>
        <pc:grpChg chg="mod">
          <ac:chgData name="Connor Xu" userId="a2fa5610-7f85-41f8-9630-afc02cec4fa9" providerId="ADAL" clId="{39D5BF1A-0EE9-496D-9199-853EEBDEDBD5}" dt="2024-09-06T02:59:37.387" v="6467"/>
          <ac:grpSpMkLst>
            <pc:docMk/>
            <pc:sldMk cId="1842373759" sldId="2147471718"/>
            <ac:grpSpMk id="9" creationId="{E826C0AF-8DE8-751D-5973-BBCE950A537E}"/>
          </ac:grpSpMkLst>
        </pc:grpChg>
        <pc:grpChg chg="mod">
          <ac:chgData name="Connor Xu" userId="a2fa5610-7f85-41f8-9630-afc02cec4fa9" providerId="ADAL" clId="{39D5BF1A-0EE9-496D-9199-853EEBDEDBD5}" dt="2024-09-06T02:59:37.387" v="6467"/>
          <ac:grpSpMkLst>
            <pc:docMk/>
            <pc:sldMk cId="1842373759" sldId="2147471718"/>
            <ac:grpSpMk id="10" creationId="{EAB460A6-1C18-EED7-B881-3E82912D7578}"/>
          </ac:grpSpMkLst>
        </pc:grpChg>
        <pc:grpChg chg="mod">
          <ac:chgData name="Connor Xu" userId="a2fa5610-7f85-41f8-9630-afc02cec4fa9" providerId="ADAL" clId="{39D5BF1A-0EE9-496D-9199-853EEBDEDBD5}" dt="2024-09-06T02:59:37.387" v="6467"/>
          <ac:grpSpMkLst>
            <pc:docMk/>
            <pc:sldMk cId="1842373759" sldId="2147471718"/>
            <ac:grpSpMk id="12" creationId="{33A55053-50B5-36B5-AD76-B66A5FE78FA2}"/>
          </ac:grpSpMkLst>
        </pc:grpChg>
        <pc:grpChg chg="add mod">
          <ac:chgData name="Connor Xu" userId="a2fa5610-7f85-41f8-9630-afc02cec4fa9" providerId="ADAL" clId="{39D5BF1A-0EE9-496D-9199-853EEBDEDBD5}" dt="2024-09-06T02:59:39.728" v="6468"/>
          <ac:grpSpMkLst>
            <pc:docMk/>
            <pc:sldMk cId="1842373759" sldId="2147471718"/>
            <ac:grpSpMk id="51" creationId="{A884BE9D-2AE9-87A0-7905-009B98DF686E}"/>
          </ac:grpSpMkLst>
        </pc:grpChg>
        <pc:grpChg chg="mod">
          <ac:chgData name="Connor Xu" userId="a2fa5610-7f85-41f8-9630-afc02cec4fa9" providerId="ADAL" clId="{39D5BF1A-0EE9-496D-9199-853EEBDEDBD5}" dt="2024-09-06T02:59:39.728" v="6468"/>
          <ac:grpSpMkLst>
            <pc:docMk/>
            <pc:sldMk cId="1842373759" sldId="2147471718"/>
            <ac:grpSpMk id="53" creationId="{E04E1FA7-0539-7436-110B-6DDF8B180E1D}"/>
          </ac:grpSpMkLst>
        </pc:grpChg>
        <pc:grpChg chg="mod">
          <ac:chgData name="Connor Xu" userId="a2fa5610-7f85-41f8-9630-afc02cec4fa9" providerId="ADAL" clId="{39D5BF1A-0EE9-496D-9199-853EEBDEDBD5}" dt="2024-09-06T02:59:39.728" v="6468"/>
          <ac:grpSpMkLst>
            <pc:docMk/>
            <pc:sldMk cId="1842373759" sldId="2147471718"/>
            <ac:grpSpMk id="54" creationId="{93455353-57E8-F77F-86C9-0F49E9AAD8EC}"/>
          </ac:grpSpMkLst>
        </pc:grpChg>
        <pc:grpChg chg="mod">
          <ac:chgData name="Connor Xu" userId="a2fa5610-7f85-41f8-9630-afc02cec4fa9" providerId="ADAL" clId="{39D5BF1A-0EE9-496D-9199-853EEBDEDBD5}" dt="2024-09-06T02:59:39.728" v="6468"/>
          <ac:grpSpMkLst>
            <pc:docMk/>
            <pc:sldMk cId="1842373759" sldId="2147471718"/>
            <ac:grpSpMk id="55" creationId="{D5CEF5A1-D327-0F2B-61F4-6CCD44CB2E02}"/>
          </ac:grpSpMkLst>
        </pc:grpChg>
        <pc:grpChg chg="mod">
          <ac:chgData name="Connor Xu" userId="a2fa5610-7f85-41f8-9630-afc02cec4fa9" providerId="ADAL" clId="{39D5BF1A-0EE9-496D-9199-853EEBDEDBD5}" dt="2024-09-06T02:59:39.728" v="6468"/>
          <ac:grpSpMkLst>
            <pc:docMk/>
            <pc:sldMk cId="1842373759" sldId="2147471718"/>
            <ac:grpSpMk id="56" creationId="{0C7D7192-7922-63E8-50F5-8EFF05526045}"/>
          </ac:grpSpMkLst>
        </pc:grpChg>
        <pc:grpChg chg="mod">
          <ac:chgData name="Connor Xu" userId="a2fa5610-7f85-41f8-9630-afc02cec4fa9" providerId="ADAL" clId="{39D5BF1A-0EE9-496D-9199-853EEBDEDBD5}" dt="2024-09-06T02:59:39.728" v="6468"/>
          <ac:grpSpMkLst>
            <pc:docMk/>
            <pc:sldMk cId="1842373759" sldId="2147471718"/>
            <ac:grpSpMk id="57" creationId="{C98E06FF-9488-3822-3B40-EE0FACB8E9D3}"/>
          </ac:grpSpMkLst>
        </pc:grpChg>
        <pc:grpChg chg="mod">
          <ac:chgData name="Connor Xu" userId="a2fa5610-7f85-41f8-9630-afc02cec4fa9" providerId="ADAL" clId="{39D5BF1A-0EE9-496D-9199-853EEBDEDBD5}" dt="2024-09-06T02:59:39.728" v="6468"/>
          <ac:grpSpMkLst>
            <pc:docMk/>
            <pc:sldMk cId="1842373759" sldId="2147471718"/>
            <ac:grpSpMk id="59" creationId="{67E724EF-A220-80BC-5FA9-7F82878F0640}"/>
          </ac:grpSpMkLst>
        </pc:grpChg>
        <pc:grpChg chg="add del mod">
          <ac:chgData name="Connor Xu" userId="a2fa5610-7f85-41f8-9630-afc02cec4fa9" providerId="ADAL" clId="{39D5BF1A-0EE9-496D-9199-853EEBDEDBD5}" dt="2024-09-06T03:10:14.995" v="7368" actId="165"/>
          <ac:grpSpMkLst>
            <pc:docMk/>
            <pc:sldMk cId="1842373759" sldId="2147471718"/>
            <ac:grpSpMk id="99" creationId="{4EA1FC5A-1FC5-5BB8-774A-F5EFA62F2A3A}"/>
          </ac:grpSpMkLst>
        </pc:grpChg>
        <pc:grpChg chg="add del mod ord">
          <ac:chgData name="Connor Xu" userId="a2fa5610-7f85-41f8-9630-afc02cec4fa9" providerId="ADAL" clId="{39D5BF1A-0EE9-496D-9199-853EEBDEDBD5}" dt="2024-09-06T03:07:16.967" v="7068" actId="165"/>
          <ac:grpSpMkLst>
            <pc:docMk/>
            <pc:sldMk cId="1842373759" sldId="2147471718"/>
            <ac:grpSpMk id="103" creationId="{D47BF26C-1AC1-CC74-096B-5FE16F91E746}"/>
          </ac:grpSpMkLst>
        </pc:grpChg>
        <pc:grpChg chg="add del mod ord">
          <ac:chgData name="Connor Xu" userId="a2fa5610-7f85-41f8-9630-afc02cec4fa9" providerId="ADAL" clId="{39D5BF1A-0EE9-496D-9199-853EEBDEDBD5}" dt="2024-09-06T03:07:16.967" v="7068" actId="165"/>
          <ac:grpSpMkLst>
            <pc:docMk/>
            <pc:sldMk cId="1842373759" sldId="2147471718"/>
            <ac:grpSpMk id="114" creationId="{2C3CBEE4-2CD5-93A5-DC07-CA9B9FAA0A73}"/>
          </ac:grpSpMkLst>
        </pc:grpChg>
        <pc:grpChg chg="add del mod ord">
          <ac:chgData name="Connor Xu" userId="a2fa5610-7f85-41f8-9630-afc02cec4fa9" providerId="ADAL" clId="{39D5BF1A-0EE9-496D-9199-853EEBDEDBD5}" dt="2024-09-06T03:07:16.967" v="7068" actId="165"/>
          <ac:grpSpMkLst>
            <pc:docMk/>
            <pc:sldMk cId="1842373759" sldId="2147471718"/>
            <ac:grpSpMk id="123" creationId="{A27609C1-FE87-73BE-2825-9E032F6256A0}"/>
          </ac:grpSpMkLst>
        </pc:grpChg>
        <pc:grpChg chg="add del mod ord">
          <ac:chgData name="Connor Xu" userId="a2fa5610-7f85-41f8-9630-afc02cec4fa9" providerId="ADAL" clId="{39D5BF1A-0EE9-496D-9199-853EEBDEDBD5}" dt="2024-09-06T03:07:16.967" v="7068" actId="165"/>
          <ac:grpSpMkLst>
            <pc:docMk/>
            <pc:sldMk cId="1842373759" sldId="2147471718"/>
            <ac:grpSpMk id="136" creationId="{8266D968-17B0-5F80-CB14-802B6C7901EA}"/>
          </ac:grpSpMkLst>
        </pc:grpChg>
        <pc:grpChg chg="del mod topLvl">
          <ac:chgData name="Connor Xu" userId="a2fa5610-7f85-41f8-9630-afc02cec4fa9" providerId="ADAL" clId="{39D5BF1A-0EE9-496D-9199-853EEBDEDBD5}" dt="2024-09-06T03:07:23.412" v="7069" actId="165"/>
          <ac:grpSpMkLst>
            <pc:docMk/>
            <pc:sldMk cId="1842373759" sldId="2147471718"/>
            <ac:grpSpMk id="138" creationId="{9BBA6EF5-EBE5-B1D6-54CB-B70B4C2027F8}"/>
          </ac:grpSpMkLst>
        </pc:grpChg>
        <pc:cxnChg chg="mod">
          <ac:chgData name="Connor Xu" userId="a2fa5610-7f85-41f8-9630-afc02cec4fa9" providerId="ADAL" clId="{39D5BF1A-0EE9-496D-9199-853EEBDEDBD5}" dt="2024-09-06T02:59:37.387" v="6467"/>
          <ac:cxnSpMkLst>
            <pc:docMk/>
            <pc:sldMk cId="1842373759" sldId="2147471718"/>
            <ac:cxnSpMk id="5" creationId="{E4AECCC9-BB3B-B87A-F439-D3451C7996C5}"/>
          </ac:cxnSpMkLst>
        </pc:cxnChg>
        <pc:cxnChg chg="mod">
          <ac:chgData name="Connor Xu" userId="a2fa5610-7f85-41f8-9630-afc02cec4fa9" providerId="ADAL" clId="{39D5BF1A-0EE9-496D-9199-853EEBDEDBD5}" dt="2024-09-06T02:59:37.387" v="6467"/>
          <ac:cxnSpMkLst>
            <pc:docMk/>
            <pc:sldMk cId="1842373759" sldId="2147471718"/>
            <ac:cxnSpMk id="11" creationId="{F4486C8B-9E29-2CFA-23D5-AA4BC89F8E79}"/>
          </ac:cxnSpMkLst>
        </pc:cxnChg>
        <pc:cxnChg chg="mod">
          <ac:chgData name="Connor Xu" userId="a2fa5610-7f85-41f8-9630-afc02cec4fa9" providerId="ADAL" clId="{39D5BF1A-0EE9-496D-9199-853EEBDEDBD5}" dt="2024-09-06T02:59:37.387" v="6467"/>
          <ac:cxnSpMkLst>
            <pc:docMk/>
            <pc:sldMk cId="1842373759" sldId="2147471718"/>
            <ac:cxnSpMk id="17" creationId="{F1D66B4C-9CBA-4327-B0F1-9E93D2DCDD7E}"/>
          </ac:cxnSpMkLst>
        </pc:cxnChg>
        <pc:cxnChg chg="mod">
          <ac:chgData name="Connor Xu" userId="a2fa5610-7f85-41f8-9630-afc02cec4fa9" providerId="ADAL" clId="{39D5BF1A-0EE9-496D-9199-853EEBDEDBD5}" dt="2024-09-06T02:59:37.387" v="6467"/>
          <ac:cxnSpMkLst>
            <pc:docMk/>
            <pc:sldMk cId="1842373759" sldId="2147471718"/>
            <ac:cxnSpMk id="21" creationId="{B1E1A098-E3D3-2624-DE64-4E6ADD1BD0DA}"/>
          </ac:cxnSpMkLst>
        </pc:cxnChg>
        <pc:cxnChg chg="mod">
          <ac:chgData name="Connor Xu" userId="a2fa5610-7f85-41f8-9630-afc02cec4fa9" providerId="ADAL" clId="{39D5BF1A-0EE9-496D-9199-853EEBDEDBD5}" dt="2024-09-06T02:59:37.387" v="6467"/>
          <ac:cxnSpMkLst>
            <pc:docMk/>
            <pc:sldMk cId="1842373759" sldId="2147471718"/>
            <ac:cxnSpMk id="23" creationId="{3EE6310B-A5DC-3F70-215F-F82D362804CA}"/>
          </ac:cxnSpMkLst>
        </pc:cxnChg>
        <pc:cxnChg chg="mod">
          <ac:chgData name="Connor Xu" userId="a2fa5610-7f85-41f8-9630-afc02cec4fa9" providerId="ADAL" clId="{39D5BF1A-0EE9-496D-9199-853EEBDEDBD5}" dt="2024-09-06T02:59:37.387" v="6467"/>
          <ac:cxnSpMkLst>
            <pc:docMk/>
            <pc:sldMk cId="1842373759" sldId="2147471718"/>
            <ac:cxnSpMk id="25" creationId="{6266761E-789F-E8E3-9985-682E1A6C15AE}"/>
          </ac:cxnSpMkLst>
        </pc:cxnChg>
        <pc:cxnChg chg="mod">
          <ac:chgData name="Connor Xu" userId="a2fa5610-7f85-41f8-9630-afc02cec4fa9" providerId="ADAL" clId="{39D5BF1A-0EE9-496D-9199-853EEBDEDBD5}" dt="2024-09-06T02:59:37.387" v="6467"/>
          <ac:cxnSpMkLst>
            <pc:docMk/>
            <pc:sldMk cId="1842373759" sldId="2147471718"/>
            <ac:cxnSpMk id="26" creationId="{34D792BD-B230-495C-E83F-DF502DA0C43C}"/>
          </ac:cxnSpMkLst>
        </pc:cxnChg>
        <pc:cxnChg chg="mod">
          <ac:chgData name="Connor Xu" userId="a2fa5610-7f85-41f8-9630-afc02cec4fa9" providerId="ADAL" clId="{39D5BF1A-0EE9-496D-9199-853EEBDEDBD5}" dt="2024-09-06T02:59:37.387" v="6467"/>
          <ac:cxnSpMkLst>
            <pc:docMk/>
            <pc:sldMk cId="1842373759" sldId="2147471718"/>
            <ac:cxnSpMk id="29" creationId="{F33F8B9E-2924-4720-16B3-DD648E045D4E}"/>
          </ac:cxnSpMkLst>
        </pc:cxnChg>
        <pc:cxnChg chg="mod">
          <ac:chgData name="Connor Xu" userId="a2fa5610-7f85-41f8-9630-afc02cec4fa9" providerId="ADAL" clId="{39D5BF1A-0EE9-496D-9199-853EEBDEDBD5}" dt="2024-09-06T02:59:37.387" v="6467"/>
          <ac:cxnSpMkLst>
            <pc:docMk/>
            <pc:sldMk cId="1842373759" sldId="2147471718"/>
            <ac:cxnSpMk id="33" creationId="{55FE0979-BD39-B387-C3F0-D7AAB5FEF037}"/>
          </ac:cxnSpMkLst>
        </pc:cxnChg>
        <pc:cxnChg chg="mod">
          <ac:chgData name="Connor Xu" userId="a2fa5610-7f85-41f8-9630-afc02cec4fa9" providerId="ADAL" clId="{39D5BF1A-0EE9-496D-9199-853EEBDEDBD5}" dt="2024-09-06T02:59:37.387" v="6467"/>
          <ac:cxnSpMkLst>
            <pc:docMk/>
            <pc:sldMk cId="1842373759" sldId="2147471718"/>
            <ac:cxnSpMk id="35" creationId="{60858ECD-566F-2DF7-517E-6839F7A838B1}"/>
          </ac:cxnSpMkLst>
        </pc:cxnChg>
        <pc:cxnChg chg="mod">
          <ac:chgData name="Connor Xu" userId="a2fa5610-7f85-41f8-9630-afc02cec4fa9" providerId="ADAL" clId="{39D5BF1A-0EE9-496D-9199-853EEBDEDBD5}" dt="2024-09-06T02:59:37.387" v="6467"/>
          <ac:cxnSpMkLst>
            <pc:docMk/>
            <pc:sldMk cId="1842373759" sldId="2147471718"/>
            <ac:cxnSpMk id="37" creationId="{2E209A6A-05CF-B0A9-17E0-857A80F35F78}"/>
          </ac:cxnSpMkLst>
        </pc:cxnChg>
        <pc:cxnChg chg="mod">
          <ac:chgData name="Connor Xu" userId="a2fa5610-7f85-41f8-9630-afc02cec4fa9" providerId="ADAL" clId="{39D5BF1A-0EE9-496D-9199-853EEBDEDBD5}" dt="2024-09-06T02:59:37.387" v="6467"/>
          <ac:cxnSpMkLst>
            <pc:docMk/>
            <pc:sldMk cId="1842373759" sldId="2147471718"/>
            <ac:cxnSpMk id="42" creationId="{B8F4F13A-7C0A-7313-BA96-7E8CBA5F2933}"/>
          </ac:cxnSpMkLst>
        </pc:cxnChg>
        <pc:cxnChg chg="mod">
          <ac:chgData name="Connor Xu" userId="a2fa5610-7f85-41f8-9630-afc02cec4fa9" providerId="ADAL" clId="{39D5BF1A-0EE9-496D-9199-853EEBDEDBD5}" dt="2024-09-06T02:59:37.387" v="6467"/>
          <ac:cxnSpMkLst>
            <pc:docMk/>
            <pc:sldMk cId="1842373759" sldId="2147471718"/>
            <ac:cxnSpMk id="43" creationId="{FDFF6927-E058-CA47-28A6-291AC836ECF3}"/>
          </ac:cxnSpMkLst>
        </pc:cxnChg>
        <pc:cxnChg chg="mod">
          <ac:chgData name="Connor Xu" userId="a2fa5610-7f85-41f8-9630-afc02cec4fa9" providerId="ADAL" clId="{39D5BF1A-0EE9-496D-9199-853EEBDEDBD5}" dt="2024-09-06T02:59:37.387" v="6467"/>
          <ac:cxnSpMkLst>
            <pc:docMk/>
            <pc:sldMk cId="1842373759" sldId="2147471718"/>
            <ac:cxnSpMk id="45" creationId="{87A5EAE8-4868-512C-4FCF-90A2D529B679}"/>
          </ac:cxnSpMkLst>
        </pc:cxnChg>
        <pc:cxnChg chg="mod">
          <ac:chgData name="Connor Xu" userId="a2fa5610-7f85-41f8-9630-afc02cec4fa9" providerId="ADAL" clId="{39D5BF1A-0EE9-496D-9199-853EEBDEDBD5}" dt="2024-09-06T02:59:37.387" v="6467"/>
          <ac:cxnSpMkLst>
            <pc:docMk/>
            <pc:sldMk cId="1842373759" sldId="2147471718"/>
            <ac:cxnSpMk id="47" creationId="{19BF5E4D-EE54-BC78-3384-D505EBE58321}"/>
          </ac:cxnSpMkLst>
        </pc:cxnChg>
        <pc:cxnChg chg="mod">
          <ac:chgData name="Connor Xu" userId="a2fa5610-7f85-41f8-9630-afc02cec4fa9" providerId="ADAL" clId="{39D5BF1A-0EE9-496D-9199-853EEBDEDBD5}" dt="2024-09-06T02:59:39.728" v="6468"/>
          <ac:cxnSpMkLst>
            <pc:docMk/>
            <pc:sldMk cId="1842373759" sldId="2147471718"/>
            <ac:cxnSpMk id="52" creationId="{67E02C20-3F17-A549-CF5B-EEFE33AFD75B}"/>
          </ac:cxnSpMkLst>
        </pc:cxnChg>
        <pc:cxnChg chg="mod">
          <ac:chgData name="Connor Xu" userId="a2fa5610-7f85-41f8-9630-afc02cec4fa9" providerId="ADAL" clId="{39D5BF1A-0EE9-496D-9199-853EEBDEDBD5}" dt="2024-09-06T02:59:39.728" v="6468"/>
          <ac:cxnSpMkLst>
            <pc:docMk/>
            <pc:sldMk cId="1842373759" sldId="2147471718"/>
            <ac:cxnSpMk id="58" creationId="{818E5417-330B-C5E0-92B4-71FC2D20E983}"/>
          </ac:cxnSpMkLst>
        </pc:cxnChg>
        <pc:cxnChg chg="mod">
          <ac:chgData name="Connor Xu" userId="a2fa5610-7f85-41f8-9630-afc02cec4fa9" providerId="ADAL" clId="{39D5BF1A-0EE9-496D-9199-853EEBDEDBD5}" dt="2024-09-06T02:59:39.728" v="6468"/>
          <ac:cxnSpMkLst>
            <pc:docMk/>
            <pc:sldMk cId="1842373759" sldId="2147471718"/>
            <ac:cxnSpMk id="64" creationId="{B963F92A-7F52-3973-D244-0638F33E7124}"/>
          </ac:cxnSpMkLst>
        </pc:cxnChg>
        <pc:cxnChg chg="mod">
          <ac:chgData name="Connor Xu" userId="a2fa5610-7f85-41f8-9630-afc02cec4fa9" providerId="ADAL" clId="{39D5BF1A-0EE9-496D-9199-853EEBDEDBD5}" dt="2024-09-06T02:59:39.728" v="6468"/>
          <ac:cxnSpMkLst>
            <pc:docMk/>
            <pc:sldMk cId="1842373759" sldId="2147471718"/>
            <ac:cxnSpMk id="68" creationId="{62D80C63-B397-CEC3-2708-39498924D81D}"/>
          </ac:cxnSpMkLst>
        </pc:cxnChg>
        <pc:cxnChg chg="mod">
          <ac:chgData name="Connor Xu" userId="a2fa5610-7f85-41f8-9630-afc02cec4fa9" providerId="ADAL" clId="{39D5BF1A-0EE9-496D-9199-853EEBDEDBD5}" dt="2024-09-06T02:59:39.728" v="6468"/>
          <ac:cxnSpMkLst>
            <pc:docMk/>
            <pc:sldMk cId="1842373759" sldId="2147471718"/>
            <ac:cxnSpMk id="70" creationId="{B6F62997-D83F-6031-CCE7-0E0C41B5E405}"/>
          </ac:cxnSpMkLst>
        </pc:cxnChg>
        <pc:cxnChg chg="mod">
          <ac:chgData name="Connor Xu" userId="a2fa5610-7f85-41f8-9630-afc02cec4fa9" providerId="ADAL" clId="{39D5BF1A-0EE9-496D-9199-853EEBDEDBD5}" dt="2024-09-06T02:59:39.728" v="6468"/>
          <ac:cxnSpMkLst>
            <pc:docMk/>
            <pc:sldMk cId="1842373759" sldId="2147471718"/>
            <ac:cxnSpMk id="72" creationId="{DEB4728C-DEC5-59EE-D7A6-B2A8D2F6F1E4}"/>
          </ac:cxnSpMkLst>
        </pc:cxnChg>
        <pc:cxnChg chg="mod">
          <ac:chgData name="Connor Xu" userId="a2fa5610-7f85-41f8-9630-afc02cec4fa9" providerId="ADAL" clId="{39D5BF1A-0EE9-496D-9199-853EEBDEDBD5}" dt="2024-09-06T02:59:39.728" v="6468"/>
          <ac:cxnSpMkLst>
            <pc:docMk/>
            <pc:sldMk cId="1842373759" sldId="2147471718"/>
            <ac:cxnSpMk id="73" creationId="{9B48AB27-215F-4A55-DB79-3E46128A2E8B}"/>
          </ac:cxnSpMkLst>
        </pc:cxnChg>
        <pc:cxnChg chg="mod">
          <ac:chgData name="Connor Xu" userId="a2fa5610-7f85-41f8-9630-afc02cec4fa9" providerId="ADAL" clId="{39D5BF1A-0EE9-496D-9199-853EEBDEDBD5}" dt="2024-09-06T02:59:39.728" v="6468"/>
          <ac:cxnSpMkLst>
            <pc:docMk/>
            <pc:sldMk cId="1842373759" sldId="2147471718"/>
            <ac:cxnSpMk id="76" creationId="{9A442E14-4378-487E-CC54-12D71F01F2DC}"/>
          </ac:cxnSpMkLst>
        </pc:cxnChg>
        <pc:cxnChg chg="mod">
          <ac:chgData name="Connor Xu" userId="a2fa5610-7f85-41f8-9630-afc02cec4fa9" providerId="ADAL" clId="{39D5BF1A-0EE9-496D-9199-853EEBDEDBD5}" dt="2024-09-06T02:59:39.728" v="6468"/>
          <ac:cxnSpMkLst>
            <pc:docMk/>
            <pc:sldMk cId="1842373759" sldId="2147471718"/>
            <ac:cxnSpMk id="80" creationId="{79427D31-E803-6F9A-D858-C3A05A7C0DD8}"/>
          </ac:cxnSpMkLst>
        </pc:cxnChg>
        <pc:cxnChg chg="mod">
          <ac:chgData name="Connor Xu" userId="a2fa5610-7f85-41f8-9630-afc02cec4fa9" providerId="ADAL" clId="{39D5BF1A-0EE9-496D-9199-853EEBDEDBD5}" dt="2024-09-06T02:59:39.728" v="6468"/>
          <ac:cxnSpMkLst>
            <pc:docMk/>
            <pc:sldMk cId="1842373759" sldId="2147471718"/>
            <ac:cxnSpMk id="82" creationId="{17D9675C-511B-F6BC-5B22-9C5E31B07E3D}"/>
          </ac:cxnSpMkLst>
        </pc:cxnChg>
        <pc:cxnChg chg="mod">
          <ac:chgData name="Connor Xu" userId="a2fa5610-7f85-41f8-9630-afc02cec4fa9" providerId="ADAL" clId="{39D5BF1A-0EE9-496D-9199-853EEBDEDBD5}" dt="2024-09-06T02:59:39.728" v="6468"/>
          <ac:cxnSpMkLst>
            <pc:docMk/>
            <pc:sldMk cId="1842373759" sldId="2147471718"/>
            <ac:cxnSpMk id="84" creationId="{15BB245C-7B1E-8B82-36B8-6E6C8D505DC1}"/>
          </ac:cxnSpMkLst>
        </pc:cxnChg>
        <pc:cxnChg chg="mod">
          <ac:chgData name="Connor Xu" userId="a2fa5610-7f85-41f8-9630-afc02cec4fa9" providerId="ADAL" clId="{39D5BF1A-0EE9-496D-9199-853EEBDEDBD5}" dt="2024-09-06T02:59:39.728" v="6468"/>
          <ac:cxnSpMkLst>
            <pc:docMk/>
            <pc:sldMk cId="1842373759" sldId="2147471718"/>
            <ac:cxnSpMk id="89" creationId="{66FC5C47-2643-BBAD-99C7-DAF7960AA57F}"/>
          </ac:cxnSpMkLst>
        </pc:cxnChg>
        <pc:cxnChg chg="mod">
          <ac:chgData name="Connor Xu" userId="a2fa5610-7f85-41f8-9630-afc02cec4fa9" providerId="ADAL" clId="{39D5BF1A-0EE9-496D-9199-853EEBDEDBD5}" dt="2024-09-06T02:59:39.728" v="6468"/>
          <ac:cxnSpMkLst>
            <pc:docMk/>
            <pc:sldMk cId="1842373759" sldId="2147471718"/>
            <ac:cxnSpMk id="90" creationId="{AA95C580-7020-0892-D7CD-7BC684B6F327}"/>
          </ac:cxnSpMkLst>
        </pc:cxnChg>
        <pc:cxnChg chg="mod">
          <ac:chgData name="Connor Xu" userId="a2fa5610-7f85-41f8-9630-afc02cec4fa9" providerId="ADAL" clId="{39D5BF1A-0EE9-496D-9199-853EEBDEDBD5}" dt="2024-09-06T02:59:39.728" v="6468"/>
          <ac:cxnSpMkLst>
            <pc:docMk/>
            <pc:sldMk cId="1842373759" sldId="2147471718"/>
            <ac:cxnSpMk id="92" creationId="{26B27122-C5E3-7826-CF5A-9B16925EF8A9}"/>
          </ac:cxnSpMkLst>
        </pc:cxnChg>
        <pc:cxnChg chg="mod">
          <ac:chgData name="Connor Xu" userId="a2fa5610-7f85-41f8-9630-afc02cec4fa9" providerId="ADAL" clId="{39D5BF1A-0EE9-496D-9199-853EEBDEDBD5}" dt="2024-09-06T02:59:39.728" v="6468"/>
          <ac:cxnSpMkLst>
            <pc:docMk/>
            <pc:sldMk cId="1842373759" sldId="2147471718"/>
            <ac:cxnSpMk id="94" creationId="{69AC21AF-E499-9087-96C7-94ADDF97F61E}"/>
          </ac:cxnSpMkLst>
        </pc:cxnChg>
        <pc:cxnChg chg="add mod ord">
          <ac:chgData name="Connor Xu" userId="a2fa5610-7f85-41f8-9630-afc02cec4fa9" providerId="ADAL" clId="{39D5BF1A-0EE9-496D-9199-853EEBDEDBD5}" dt="2024-09-06T03:11:53.967" v="7441" actId="14100"/>
          <ac:cxnSpMkLst>
            <pc:docMk/>
            <pc:sldMk cId="1842373759" sldId="2147471718"/>
            <ac:cxnSpMk id="98" creationId="{BF28EA4F-1C45-590D-D759-F65F54463EC9}"/>
          </ac:cxnSpMkLst>
        </pc:cxnChg>
        <pc:cxnChg chg="mod topLvl">
          <ac:chgData name="Connor Xu" userId="a2fa5610-7f85-41f8-9630-afc02cec4fa9" providerId="ADAL" clId="{39D5BF1A-0EE9-496D-9199-853EEBDEDBD5}" dt="2024-09-06T03:08:38.318" v="7277" actId="14100"/>
          <ac:cxnSpMkLst>
            <pc:docMk/>
            <pc:sldMk cId="1842373759" sldId="2147471718"/>
            <ac:cxnSpMk id="108" creationId="{838168B2-9588-855A-FBEE-510F4697C722}"/>
          </ac:cxnSpMkLst>
        </pc:cxnChg>
        <pc:cxnChg chg="mod topLvl">
          <ac:chgData name="Connor Xu" userId="a2fa5610-7f85-41f8-9630-afc02cec4fa9" providerId="ADAL" clId="{39D5BF1A-0EE9-496D-9199-853EEBDEDBD5}" dt="2024-09-06T03:08:45.854" v="7279" actId="14100"/>
          <ac:cxnSpMkLst>
            <pc:docMk/>
            <pc:sldMk cId="1842373759" sldId="2147471718"/>
            <ac:cxnSpMk id="109" creationId="{2EBCD993-FD63-AA9A-CD53-10DF1063434B}"/>
          </ac:cxnSpMkLst>
        </pc:cxnChg>
        <pc:cxnChg chg="mod topLvl">
          <ac:chgData name="Connor Xu" userId="a2fa5610-7f85-41f8-9630-afc02cec4fa9" providerId="ADAL" clId="{39D5BF1A-0EE9-496D-9199-853EEBDEDBD5}" dt="2024-09-06T03:08:50.942" v="7281" actId="14100"/>
          <ac:cxnSpMkLst>
            <pc:docMk/>
            <pc:sldMk cId="1842373759" sldId="2147471718"/>
            <ac:cxnSpMk id="111" creationId="{E7586FD2-2BFA-734F-43F2-21E753CFF2FF}"/>
          </ac:cxnSpMkLst>
        </pc:cxnChg>
        <pc:cxnChg chg="mod topLvl">
          <ac:chgData name="Connor Xu" userId="a2fa5610-7f85-41f8-9630-afc02cec4fa9" providerId="ADAL" clId="{39D5BF1A-0EE9-496D-9199-853EEBDEDBD5}" dt="2024-09-06T03:09:32.682" v="7335" actId="552"/>
          <ac:cxnSpMkLst>
            <pc:docMk/>
            <pc:sldMk cId="1842373759" sldId="2147471718"/>
            <ac:cxnSpMk id="113" creationId="{46D39D9A-B57F-C85B-7ACF-C30CFF4DE8A1}"/>
          </ac:cxnSpMkLst>
        </pc:cxnChg>
        <pc:cxnChg chg="mod topLvl">
          <ac:chgData name="Connor Xu" userId="a2fa5610-7f85-41f8-9630-afc02cec4fa9" providerId="ADAL" clId="{39D5BF1A-0EE9-496D-9199-853EEBDEDBD5}" dt="2024-09-06T03:12:49.090" v="7461" actId="552"/>
          <ac:cxnSpMkLst>
            <pc:docMk/>
            <pc:sldMk cId="1842373759" sldId="2147471718"/>
            <ac:cxnSpMk id="118" creationId="{8136FF52-75D4-322C-65BC-FA1E4FE261DE}"/>
          </ac:cxnSpMkLst>
        </pc:cxnChg>
        <pc:cxnChg chg="mod topLvl">
          <ac:chgData name="Connor Xu" userId="a2fa5610-7f85-41f8-9630-afc02cec4fa9" providerId="ADAL" clId="{39D5BF1A-0EE9-496D-9199-853EEBDEDBD5}" dt="2024-09-06T03:08:48.273" v="7280" actId="14100"/>
          <ac:cxnSpMkLst>
            <pc:docMk/>
            <pc:sldMk cId="1842373759" sldId="2147471718"/>
            <ac:cxnSpMk id="120" creationId="{00DAA31B-6678-A3D0-4C3B-15DCFC03C6D6}"/>
          </ac:cxnSpMkLst>
        </pc:cxnChg>
        <pc:cxnChg chg="mod topLvl">
          <ac:chgData name="Connor Xu" userId="a2fa5610-7f85-41f8-9630-afc02cec4fa9" providerId="ADAL" clId="{39D5BF1A-0EE9-496D-9199-853EEBDEDBD5}" dt="2024-09-06T03:11:39.379" v="7406" actId="553"/>
          <ac:cxnSpMkLst>
            <pc:docMk/>
            <pc:sldMk cId="1842373759" sldId="2147471718"/>
            <ac:cxnSpMk id="122" creationId="{D25CE691-DB84-91FA-8C7C-BBEDB4B07055}"/>
          </ac:cxnSpMkLst>
        </pc:cxnChg>
        <pc:cxnChg chg="mod topLvl">
          <ac:chgData name="Connor Xu" userId="a2fa5610-7f85-41f8-9630-afc02cec4fa9" providerId="ADAL" clId="{39D5BF1A-0EE9-496D-9199-853EEBDEDBD5}" dt="2024-09-06T03:09:12.012" v="7297" actId="1037"/>
          <ac:cxnSpMkLst>
            <pc:docMk/>
            <pc:sldMk cId="1842373759" sldId="2147471718"/>
            <ac:cxnSpMk id="127" creationId="{2C02EF8B-EBCE-33EF-D654-789A4C87EB4E}"/>
          </ac:cxnSpMkLst>
        </pc:cxnChg>
        <pc:cxnChg chg="mod topLvl">
          <ac:chgData name="Connor Xu" userId="a2fa5610-7f85-41f8-9630-afc02cec4fa9" providerId="ADAL" clId="{39D5BF1A-0EE9-496D-9199-853EEBDEDBD5}" dt="2024-09-06T03:09:20.205" v="7318" actId="1038"/>
          <ac:cxnSpMkLst>
            <pc:docMk/>
            <pc:sldMk cId="1842373759" sldId="2147471718"/>
            <ac:cxnSpMk id="129" creationId="{DBCE50A3-A534-257A-E56E-27D9747CFC92}"/>
          </ac:cxnSpMkLst>
        </pc:cxnChg>
        <pc:cxnChg chg="mod topLvl">
          <ac:chgData name="Connor Xu" userId="a2fa5610-7f85-41f8-9630-afc02cec4fa9" providerId="ADAL" clId="{39D5BF1A-0EE9-496D-9199-853EEBDEDBD5}" dt="2024-09-06T03:09:29.131" v="7334" actId="1037"/>
          <ac:cxnSpMkLst>
            <pc:docMk/>
            <pc:sldMk cId="1842373759" sldId="2147471718"/>
            <ac:cxnSpMk id="131" creationId="{C420B5E1-9A97-B618-8AF6-1528E61F7735}"/>
          </ac:cxnSpMkLst>
        </pc:cxnChg>
        <pc:cxnChg chg="mod topLvl">
          <ac:chgData name="Connor Xu" userId="a2fa5610-7f85-41f8-9630-afc02cec4fa9" providerId="ADAL" clId="{39D5BF1A-0EE9-496D-9199-853EEBDEDBD5}" dt="2024-09-06T03:09:25.932" v="7321" actId="1038"/>
          <ac:cxnSpMkLst>
            <pc:docMk/>
            <pc:sldMk cId="1842373759" sldId="2147471718"/>
            <ac:cxnSpMk id="132" creationId="{C51B82B8-60EF-EF23-ADD2-8854618F7BB9}"/>
          </ac:cxnSpMkLst>
        </pc:cxnChg>
        <pc:cxnChg chg="mod topLvl">
          <ac:chgData name="Connor Xu" userId="a2fa5610-7f85-41f8-9630-afc02cec4fa9" providerId="ADAL" clId="{39D5BF1A-0EE9-496D-9199-853EEBDEDBD5}" dt="2024-09-06T03:09:32.682" v="7335" actId="552"/>
          <ac:cxnSpMkLst>
            <pc:docMk/>
            <pc:sldMk cId="1842373759" sldId="2147471718"/>
            <ac:cxnSpMk id="135" creationId="{BD7EEC63-9E59-4D78-4018-2F3F7DEE3395}"/>
          </ac:cxnSpMkLst>
        </pc:cxnChg>
        <pc:cxnChg chg="mod topLvl">
          <ac:chgData name="Connor Xu" userId="a2fa5610-7f85-41f8-9630-afc02cec4fa9" providerId="ADAL" clId="{39D5BF1A-0EE9-496D-9199-853EEBDEDBD5}" dt="2024-09-06T03:08:28.484" v="7275" actId="1037"/>
          <ac:cxnSpMkLst>
            <pc:docMk/>
            <pc:sldMk cId="1842373759" sldId="2147471718"/>
            <ac:cxnSpMk id="137" creationId="{7FFFDE57-0B24-9261-06CF-F0DB88228487}"/>
          </ac:cxnSpMkLst>
        </pc:cxnChg>
        <pc:cxnChg chg="mod topLvl">
          <ac:chgData name="Connor Xu" userId="a2fa5610-7f85-41f8-9630-afc02cec4fa9" providerId="ADAL" clId="{39D5BF1A-0EE9-496D-9199-853EEBDEDBD5}" dt="2024-09-06T03:09:32.682" v="7335" actId="552"/>
          <ac:cxnSpMkLst>
            <pc:docMk/>
            <pc:sldMk cId="1842373759" sldId="2147471718"/>
            <ac:cxnSpMk id="143" creationId="{AE5556B1-A6B4-7CDF-C622-FA35B47760DD}"/>
          </ac:cxnSpMkLst>
        </pc:cxnChg>
      </pc:sldChg>
      <pc:sldChg chg="new del ord">
        <pc:chgData name="Connor Xu" userId="a2fa5610-7f85-41f8-9630-afc02cec4fa9" providerId="ADAL" clId="{39D5BF1A-0EE9-496D-9199-853EEBDEDBD5}" dt="2024-09-06T02:51:47.968" v="5724" actId="47"/>
        <pc:sldMkLst>
          <pc:docMk/>
          <pc:sldMk cId="1973458979" sldId="2147471718"/>
        </pc:sldMkLst>
      </pc:sldChg>
      <pc:sldChg chg="addSp delSp modSp new del mod">
        <pc:chgData name="Connor Xu" userId="a2fa5610-7f85-41f8-9630-afc02cec4fa9" providerId="ADAL" clId="{39D5BF1A-0EE9-496D-9199-853EEBDEDBD5}" dt="2024-09-06T01:01:14.917" v="1488" actId="47"/>
        <pc:sldMkLst>
          <pc:docMk/>
          <pc:sldMk cId="2349332562" sldId="2147471718"/>
        </pc:sldMkLst>
        <pc:spChg chg="del mod">
          <ac:chgData name="Connor Xu" userId="a2fa5610-7f85-41f8-9630-afc02cec4fa9" providerId="ADAL" clId="{39D5BF1A-0EE9-496D-9199-853EEBDEDBD5}" dt="2024-09-06T01:00:35.530" v="1483" actId="478"/>
          <ac:spMkLst>
            <pc:docMk/>
            <pc:sldMk cId="2349332562" sldId="2147471718"/>
            <ac:spMk id="5" creationId="{DE6E2A28-FEF4-A9B3-1112-1B285825F1B8}"/>
          </ac:spMkLst>
        </pc:spChg>
        <pc:spChg chg="mod">
          <ac:chgData name="Connor Xu" userId="a2fa5610-7f85-41f8-9630-afc02cec4fa9" providerId="ADAL" clId="{39D5BF1A-0EE9-496D-9199-853EEBDEDBD5}" dt="2024-09-06T00:58:59.784" v="1463" actId="255"/>
          <ac:spMkLst>
            <pc:docMk/>
            <pc:sldMk cId="2349332562" sldId="2147471718"/>
            <ac:spMk id="7" creationId="{409433A2-6662-944F-8C3C-2650FC624E05}"/>
          </ac:spMkLst>
        </pc:spChg>
        <pc:spChg chg="mod">
          <ac:chgData name="Connor Xu" userId="a2fa5610-7f85-41f8-9630-afc02cec4fa9" providerId="ADAL" clId="{39D5BF1A-0EE9-496D-9199-853EEBDEDBD5}" dt="2024-09-06T00:58:59.784" v="1463" actId="255"/>
          <ac:spMkLst>
            <pc:docMk/>
            <pc:sldMk cId="2349332562" sldId="2147471718"/>
            <ac:spMk id="8" creationId="{8E24095B-8B0B-7AA4-C362-7EABA0C04C95}"/>
          </ac:spMkLst>
        </pc:spChg>
        <pc:spChg chg="mod">
          <ac:chgData name="Connor Xu" userId="a2fa5610-7f85-41f8-9630-afc02cec4fa9" providerId="ADAL" clId="{39D5BF1A-0EE9-496D-9199-853EEBDEDBD5}" dt="2024-09-06T00:58:59.784" v="1463" actId="255"/>
          <ac:spMkLst>
            <pc:docMk/>
            <pc:sldMk cId="2349332562" sldId="2147471718"/>
            <ac:spMk id="9" creationId="{413308CD-CF6F-A75E-8E8E-56B31BE063BB}"/>
          </ac:spMkLst>
        </pc:spChg>
        <pc:spChg chg="mod">
          <ac:chgData name="Connor Xu" userId="a2fa5610-7f85-41f8-9630-afc02cec4fa9" providerId="ADAL" clId="{39D5BF1A-0EE9-496D-9199-853EEBDEDBD5}" dt="2024-09-06T01:00:39.145" v="1484" actId="207"/>
          <ac:spMkLst>
            <pc:docMk/>
            <pc:sldMk cId="2349332562" sldId="2147471718"/>
            <ac:spMk id="10" creationId="{2545486C-EE68-12B6-4DB2-AC531FB8E8BA}"/>
          </ac:spMkLst>
        </pc:spChg>
        <pc:spChg chg="mod">
          <ac:chgData name="Connor Xu" userId="a2fa5610-7f85-41f8-9630-afc02cec4fa9" providerId="ADAL" clId="{39D5BF1A-0EE9-496D-9199-853EEBDEDBD5}" dt="2024-09-06T00:58:59.784" v="1463" actId="255"/>
          <ac:spMkLst>
            <pc:docMk/>
            <pc:sldMk cId="2349332562" sldId="2147471718"/>
            <ac:spMk id="11" creationId="{16E8C854-96CE-1839-4447-60D671549FB9}"/>
          </ac:spMkLst>
        </pc:spChg>
        <pc:spChg chg="mod">
          <ac:chgData name="Connor Xu" userId="a2fa5610-7f85-41f8-9630-afc02cec4fa9" providerId="ADAL" clId="{39D5BF1A-0EE9-496D-9199-853EEBDEDBD5}" dt="2024-09-06T01:00:41.114" v="1485" actId="207"/>
          <ac:spMkLst>
            <pc:docMk/>
            <pc:sldMk cId="2349332562" sldId="2147471718"/>
            <ac:spMk id="12" creationId="{0B0C76E5-D642-BCCB-B463-2634EC7F5431}"/>
          </ac:spMkLst>
        </pc:spChg>
        <pc:spChg chg="mod">
          <ac:chgData name="Connor Xu" userId="a2fa5610-7f85-41f8-9630-afc02cec4fa9" providerId="ADAL" clId="{39D5BF1A-0EE9-496D-9199-853EEBDEDBD5}" dt="2024-09-06T00:58:59.784" v="1463" actId="255"/>
          <ac:spMkLst>
            <pc:docMk/>
            <pc:sldMk cId="2349332562" sldId="2147471718"/>
            <ac:spMk id="13" creationId="{2675F001-AB0B-2FB9-4856-1FA0333C6A04}"/>
          </ac:spMkLst>
        </pc:spChg>
        <pc:spChg chg="mod">
          <ac:chgData name="Connor Xu" userId="a2fa5610-7f85-41f8-9630-afc02cec4fa9" providerId="ADAL" clId="{39D5BF1A-0EE9-496D-9199-853EEBDEDBD5}" dt="2024-09-06T00:58:59.784" v="1463" actId="255"/>
          <ac:spMkLst>
            <pc:docMk/>
            <pc:sldMk cId="2349332562" sldId="2147471718"/>
            <ac:spMk id="14" creationId="{BCD69FDC-A4F9-5B7F-A16B-B39C33718D6E}"/>
          </ac:spMkLst>
        </pc:spChg>
        <pc:spChg chg="mod">
          <ac:chgData name="Connor Xu" userId="a2fa5610-7f85-41f8-9630-afc02cec4fa9" providerId="ADAL" clId="{39D5BF1A-0EE9-496D-9199-853EEBDEDBD5}" dt="2024-09-06T00:58:59.784" v="1463" actId="255"/>
          <ac:spMkLst>
            <pc:docMk/>
            <pc:sldMk cId="2349332562" sldId="2147471718"/>
            <ac:spMk id="15" creationId="{6B540357-280B-3ECA-A240-E9128B456702}"/>
          </ac:spMkLst>
        </pc:spChg>
        <pc:spChg chg="mod">
          <ac:chgData name="Connor Xu" userId="a2fa5610-7f85-41f8-9630-afc02cec4fa9" providerId="ADAL" clId="{39D5BF1A-0EE9-496D-9199-853EEBDEDBD5}" dt="2024-09-06T00:58:59.784" v="1463" actId="255"/>
          <ac:spMkLst>
            <pc:docMk/>
            <pc:sldMk cId="2349332562" sldId="2147471718"/>
            <ac:spMk id="16" creationId="{B1E14D00-0E98-7B50-39A3-EC5C52CE9B63}"/>
          </ac:spMkLst>
        </pc:spChg>
        <pc:spChg chg="mod">
          <ac:chgData name="Connor Xu" userId="a2fa5610-7f85-41f8-9630-afc02cec4fa9" providerId="ADAL" clId="{39D5BF1A-0EE9-496D-9199-853EEBDEDBD5}" dt="2024-09-06T00:58:59.784" v="1463" actId="255"/>
          <ac:spMkLst>
            <pc:docMk/>
            <pc:sldMk cId="2349332562" sldId="2147471718"/>
            <ac:spMk id="17" creationId="{8E724EA7-C093-8B9C-835D-2F03E0E0859D}"/>
          </ac:spMkLst>
        </pc:spChg>
        <pc:grpChg chg="add mod">
          <ac:chgData name="Connor Xu" userId="a2fa5610-7f85-41f8-9630-afc02cec4fa9" providerId="ADAL" clId="{39D5BF1A-0EE9-496D-9199-853EEBDEDBD5}" dt="2024-09-06T01:00:29.636" v="1481" actId="1076"/>
          <ac:grpSpMkLst>
            <pc:docMk/>
            <pc:sldMk cId="2349332562" sldId="2147471718"/>
            <ac:grpSpMk id="4" creationId="{65D17C9D-8F52-99A8-BBFC-A86764FF56D7}"/>
          </ac:grpSpMkLst>
        </pc:grpChg>
        <pc:cxnChg chg="mod">
          <ac:chgData name="Connor Xu" userId="a2fa5610-7f85-41f8-9630-afc02cec4fa9" providerId="ADAL" clId="{39D5BF1A-0EE9-496D-9199-853EEBDEDBD5}" dt="2024-09-06T00:58:53.438" v="1462"/>
          <ac:cxnSpMkLst>
            <pc:docMk/>
            <pc:sldMk cId="2349332562" sldId="2147471718"/>
            <ac:cxnSpMk id="6" creationId="{39CBB28A-FF58-D652-4AAD-9AD5145EF3FE}"/>
          </ac:cxnSpMkLst>
        </pc:cxnChg>
      </pc:sldChg>
      <pc:sldChg chg="add del">
        <pc:chgData name="Connor Xu" userId="a2fa5610-7f85-41f8-9630-afc02cec4fa9" providerId="ADAL" clId="{39D5BF1A-0EE9-496D-9199-853EEBDEDBD5}" dt="2024-09-06T02:34:33.920" v="5331" actId="47"/>
        <pc:sldMkLst>
          <pc:docMk/>
          <pc:sldMk cId="2677359051" sldId="2147471718"/>
        </pc:sldMkLst>
      </pc:sldChg>
      <pc:sldChg chg="addSp delSp modSp new del mod">
        <pc:chgData name="Connor Xu" userId="a2fa5610-7f85-41f8-9630-afc02cec4fa9" providerId="ADAL" clId="{39D5BF1A-0EE9-496D-9199-853EEBDEDBD5}" dt="2024-09-06T01:31:50.684" v="3166" actId="47"/>
        <pc:sldMkLst>
          <pc:docMk/>
          <pc:sldMk cId="3242319566" sldId="2147471718"/>
        </pc:sldMkLst>
        <pc:spChg chg="del mod">
          <ac:chgData name="Connor Xu" userId="a2fa5610-7f85-41f8-9630-afc02cec4fa9" providerId="ADAL" clId="{39D5BF1A-0EE9-496D-9199-853EEBDEDBD5}" dt="2024-09-06T01:01:24.501" v="1493" actId="478"/>
          <ac:spMkLst>
            <pc:docMk/>
            <pc:sldMk cId="3242319566" sldId="2147471718"/>
            <ac:spMk id="2" creationId="{8CF13EE8-E7D9-07E1-6190-561524B5DD84}"/>
          </ac:spMkLst>
        </pc:spChg>
        <pc:spChg chg="add mod ord">
          <ac:chgData name="Connor Xu" userId="a2fa5610-7f85-41f8-9630-afc02cec4fa9" providerId="ADAL" clId="{39D5BF1A-0EE9-496D-9199-853EEBDEDBD5}" dt="2024-09-06T01:07:49.909" v="1756" actId="14100"/>
          <ac:spMkLst>
            <pc:docMk/>
            <pc:sldMk cId="3242319566" sldId="2147471718"/>
            <ac:spMk id="4" creationId="{4450B23B-60C8-A56A-8C16-BDC5C62FCC88}"/>
          </ac:spMkLst>
        </pc:spChg>
        <pc:spChg chg="mod topLvl">
          <ac:chgData name="Connor Xu" userId="a2fa5610-7f85-41f8-9630-afc02cec4fa9" providerId="ADAL" clId="{39D5BF1A-0EE9-496D-9199-853EEBDEDBD5}" dt="2024-09-06T01:05:52.142" v="1636" actId="1036"/>
          <ac:spMkLst>
            <pc:docMk/>
            <pc:sldMk cId="3242319566" sldId="2147471718"/>
            <ac:spMk id="9" creationId="{62B5ABCA-8B1A-B80C-36C7-5C02E18D6571}"/>
          </ac:spMkLst>
        </pc:spChg>
        <pc:spChg chg="mod topLvl">
          <ac:chgData name="Connor Xu" userId="a2fa5610-7f85-41f8-9630-afc02cec4fa9" providerId="ADAL" clId="{39D5BF1A-0EE9-496D-9199-853EEBDEDBD5}" dt="2024-09-06T01:05:52.142" v="1636" actId="1036"/>
          <ac:spMkLst>
            <pc:docMk/>
            <pc:sldMk cId="3242319566" sldId="2147471718"/>
            <ac:spMk id="10" creationId="{15005363-3D7E-698F-692E-8D982812B046}"/>
          </ac:spMkLst>
        </pc:spChg>
        <pc:spChg chg="mod topLvl">
          <ac:chgData name="Connor Xu" userId="a2fa5610-7f85-41f8-9630-afc02cec4fa9" providerId="ADAL" clId="{39D5BF1A-0EE9-496D-9199-853EEBDEDBD5}" dt="2024-09-06T01:05:52.142" v="1636" actId="1036"/>
          <ac:spMkLst>
            <pc:docMk/>
            <pc:sldMk cId="3242319566" sldId="2147471718"/>
            <ac:spMk id="11" creationId="{8D5A89A0-5E6A-7805-7DB7-7ACC47C762D6}"/>
          </ac:spMkLst>
        </pc:spChg>
        <pc:spChg chg="mod topLvl">
          <ac:chgData name="Connor Xu" userId="a2fa5610-7f85-41f8-9630-afc02cec4fa9" providerId="ADAL" clId="{39D5BF1A-0EE9-496D-9199-853EEBDEDBD5}" dt="2024-09-06T01:06:40.296" v="1705" actId="14100"/>
          <ac:spMkLst>
            <pc:docMk/>
            <pc:sldMk cId="3242319566" sldId="2147471718"/>
            <ac:spMk id="12" creationId="{CEDF269C-FD81-9731-79F5-30E1CD4B10D6}"/>
          </ac:spMkLst>
        </pc:spChg>
        <pc:spChg chg="mod topLvl">
          <ac:chgData name="Connor Xu" userId="a2fa5610-7f85-41f8-9630-afc02cec4fa9" providerId="ADAL" clId="{39D5BF1A-0EE9-496D-9199-853EEBDEDBD5}" dt="2024-09-06T01:07:19.273" v="1752" actId="554"/>
          <ac:spMkLst>
            <pc:docMk/>
            <pc:sldMk cId="3242319566" sldId="2147471718"/>
            <ac:spMk id="13" creationId="{D7D5DCB7-99E5-E6F1-CDE5-775D256D918D}"/>
          </ac:spMkLst>
        </pc:spChg>
        <pc:spChg chg="mod topLvl">
          <ac:chgData name="Connor Xu" userId="a2fa5610-7f85-41f8-9630-afc02cec4fa9" providerId="ADAL" clId="{39D5BF1A-0EE9-496D-9199-853EEBDEDBD5}" dt="2024-09-06T01:06:37.499" v="1704" actId="14100"/>
          <ac:spMkLst>
            <pc:docMk/>
            <pc:sldMk cId="3242319566" sldId="2147471718"/>
            <ac:spMk id="14" creationId="{564218D9-7C0B-BDC9-39F4-580A8A93547C}"/>
          </ac:spMkLst>
        </pc:spChg>
        <pc:spChg chg="mod topLvl">
          <ac:chgData name="Connor Xu" userId="a2fa5610-7f85-41f8-9630-afc02cec4fa9" providerId="ADAL" clId="{39D5BF1A-0EE9-496D-9199-853EEBDEDBD5}" dt="2024-09-06T01:07:19.273" v="1752" actId="554"/>
          <ac:spMkLst>
            <pc:docMk/>
            <pc:sldMk cId="3242319566" sldId="2147471718"/>
            <ac:spMk id="15" creationId="{BA23BB7F-CA82-DE1C-E445-B7F55682E578}"/>
          </ac:spMkLst>
        </pc:spChg>
        <pc:spChg chg="mod topLvl">
          <ac:chgData name="Connor Xu" userId="a2fa5610-7f85-41f8-9630-afc02cec4fa9" providerId="ADAL" clId="{39D5BF1A-0EE9-496D-9199-853EEBDEDBD5}" dt="2024-09-06T01:07:40.980" v="1755" actId="2085"/>
          <ac:spMkLst>
            <pc:docMk/>
            <pc:sldMk cId="3242319566" sldId="2147471718"/>
            <ac:spMk id="16" creationId="{8CCF1B25-E06A-AA14-F3AA-B0F315CF6A0A}"/>
          </ac:spMkLst>
        </pc:spChg>
        <pc:spChg chg="mod topLvl">
          <ac:chgData name="Connor Xu" userId="a2fa5610-7f85-41f8-9630-afc02cec4fa9" providerId="ADAL" clId="{39D5BF1A-0EE9-496D-9199-853EEBDEDBD5}" dt="2024-09-06T01:07:40.980" v="1755" actId="2085"/>
          <ac:spMkLst>
            <pc:docMk/>
            <pc:sldMk cId="3242319566" sldId="2147471718"/>
            <ac:spMk id="17" creationId="{C13289D4-B7CD-5E9C-914E-E882AD9BD77D}"/>
          </ac:spMkLst>
        </pc:spChg>
        <pc:spChg chg="mod topLvl">
          <ac:chgData name="Connor Xu" userId="a2fa5610-7f85-41f8-9630-afc02cec4fa9" providerId="ADAL" clId="{39D5BF1A-0EE9-496D-9199-853EEBDEDBD5}" dt="2024-09-06T01:07:32.068" v="1753" actId="2085"/>
          <ac:spMkLst>
            <pc:docMk/>
            <pc:sldMk cId="3242319566" sldId="2147471718"/>
            <ac:spMk id="18" creationId="{5AA687AE-A4FB-545F-0CD7-C8E652F006D0}"/>
          </ac:spMkLst>
        </pc:spChg>
        <pc:spChg chg="mod topLvl">
          <ac:chgData name="Connor Xu" userId="a2fa5610-7f85-41f8-9630-afc02cec4fa9" providerId="ADAL" clId="{39D5BF1A-0EE9-496D-9199-853EEBDEDBD5}" dt="2024-09-06T01:07:36.577" v="1754" actId="2085"/>
          <ac:spMkLst>
            <pc:docMk/>
            <pc:sldMk cId="3242319566" sldId="2147471718"/>
            <ac:spMk id="19" creationId="{F9AB5CAF-85C1-3590-6F9F-09621C511B50}"/>
          </ac:spMkLst>
        </pc:spChg>
        <pc:grpChg chg="add del mod">
          <ac:chgData name="Connor Xu" userId="a2fa5610-7f85-41f8-9630-afc02cec4fa9" providerId="ADAL" clId="{39D5BF1A-0EE9-496D-9199-853EEBDEDBD5}" dt="2024-09-06T01:01:32.167" v="1494" actId="165"/>
          <ac:grpSpMkLst>
            <pc:docMk/>
            <pc:sldMk cId="3242319566" sldId="2147471718"/>
            <ac:grpSpMk id="7" creationId="{1C7EA93A-9459-2BD6-F034-78C3498D6FEE}"/>
          </ac:grpSpMkLst>
        </pc:grpChg>
        <pc:cxnChg chg="mod topLvl">
          <ac:chgData name="Connor Xu" userId="a2fa5610-7f85-41f8-9630-afc02cec4fa9" providerId="ADAL" clId="{39D5BF1A-0EE9-496D-9199-853EEBDEDBD5}" dt="2024-09-06T01:05:47.146" v="1631" actId="465"/>
          <ac:cxnSpMkLst>
            <pc:docMk/>
            <pc:sldMk cId="3242319566" sldId="2147471718"/>
            <ac:cxnSpMk id="8" creationId="{D436AB4E-CC61-5EEA-BDDC-618F83C54650}"/>
          </ac:cxnSpMkLst>
        </pc:cxnChg>
      </pc:sldChg>
      <pc:sldChg chg="new del">
        <pc:chgData name="Connor Xu" userId="a2fa5610-7f85-41f8-9630-afc02cec4fa9" providerId="ADAL" clId="{39D5BF1A-0EE9-496D-9199-853EEBDEDBD5}" dt="2024-09-06T02:10:41.928" v="3776" actId="47"/>
        <pc:sldMkLst>
          <pc:docMk/>
          <pc:sldMk cId="3674923806" sldId="2147471718"/>
        </pc:sldMkLst>
      </pc:sldChg>
      <pc:sldChg chg="addSp delSp modSp new del mod">
        <pc:chgData name="Connor Xu" userId="a2fa5610-7f85-41f8-9630-afc02cec4fa9" providerId="ADAL" clId="{39D5BF1A-0EE9-496D-9199-853EEBDEDBD5}" dt="2024-09-06T03:13:14.736" v="7483" actId="47"/>
        <pc:sldMkLst>
          <pc:docMk/>
          <pc:sldMk cId="203184388" sldId="2147471719"/>
        </pc:sldMkLst>
        <pc:spChg chg="del">
          <ac:chgData name="Connor Xu" userId="a2fa5610-7f85-41f8-9630-afc02cec4fa9" providerId="ADAL" clId="{39D5BF1A-0EE9-496D-9199-853EEBDEDBD5}" dt="2024-09-06T02:59:49.558" v="6471" actId="478"/>
          <ac:spMkLst>
            <pc:docMk/>
            <pc:sldMk cId="203184388" sldId="2147471719"/>
            <ac:spMk id="2" creationId="{7385CB39-12CC-E0E8-1342-66478DB1AA49}"/>
          </ac:spMkLst>
        </pc:spChg>
        <pc:spChg chg="mod">
          <ac:chgData name="Connor Xu" userId="a2fa5610-7f85-41f8-9630-afc02cec4fa9" providerId="ADAL" clId="{39D5BF1A-0EE9-496D-9199-853EEBDEDBD5}" dt="2024-09-06T03:06:11.443" v="6997" actId="165"/>
          <ac:spMkLst>
            <pc:docMk/>
            <pc:sldMk cId="203184388" sldId="2147471719"/>
            <ac:spMk id="13" creationId="{BF4AAE7A-7827-59D4-4337-9452BF29AA86}"/>
          </ac:spMkLst>
        </pc:spChg>
        <pc:spChg chg="mod">
          <ac:chgData name="Connor Xu" userId="a2fa5610-7f85-41f8-9630-afc02cec4fa9" providerId="ADAL" clId="{39D5BF1A-0EE9-496D-9199-853EEBDEDBD5}" dt="2024-09-06T03:06:11.443" v="6997" actId="165"/>
          <ac:spMkLst>
            <pc:docMk/>
            <pc:sldMk cId="203184388" sldId="2147471719"/>
            <ac:spMk id="14" creationId="{376FBD87-423B-6C50-13AB-2BCFDC8EC6BA}"/>
          </ac:spMkLst>
        </pc:spChg>
        <pc:spChg chg="mod">
          <ac:chgData name="Connor Xu" userId="a2fa5610-7f85-41f8-9630-afc02cec4fa9" providerId="ADAL" clId="{39D5BF1A-0EE9-496D-9199-853EEBDEDBD5}" dt="2024-09-06T03:06:11.443" v="6997" actId="165"/>
          <ac:spMkLst>
            <pc:docMk/>
            <pc:sldMk cId="203184388" sldId="2147471719"/>
            <ac:spMk id="15" creationId="{6889392D-F4A6-244E-2F4D-D359965DEF7D}"/>
          </ac:spMkLst>
        </pc:spChg>
        <pc:spChg chg="mod">
          <ac:chgData name="Connor Xu" userId="a2fa5610-7f85-41f8-9630-afc02cec4fa9" providerId="ADAL" clId="{39D5BF1A-0EE9-496D-9199-853EEBDEDBD5}" dt="2024-09-06T03:06:11.443" v="6997" actId="165"/>
          <ac:spMkLst>
            <pc:docMk/>
            <pc:sldMk cId="203184388" sldId="2147471719"/>
            <ac:spMk id="16" creationId="{3F5B061E-19EA-10A4-32AC-18A59102E586}"/>
          </ac:spMkLst>
        </pc:spChg>
        <pc:spChg chg="mod">
          <ac:chgData name="Connor Xu" userId="a2fa5610-7f85-41f8-9630-afc02cec4fa9" providerId="ADAL" clId="{39D5BF1A-0EE9-496D-9199-853EEBDEDBD5}" dt="2024-09-06T03:06:11.443" v="6997" actId="165"/>
          <ac:spMkLst>
            <pc:docMk/>
            <pc:sldMk cId="203184388" sldId="2147471719"/>
            <ac:spMk id="18" creationId="{A0B7ACCA-6599-5C37-A058-B1C4128C3279}"/>
          </ac:spMkLst>
        </pc:spChg>
        <pc:spChg chg="mod">
          <ac:chgData name="Connor Xu" userId="a2fa5610-7f85-41f8-9630-afc02cec4fa9" providerId="ADAL" clId="{39D5BF1A-0EE9-496D-9199-853EEBDEDBD5}" dt="2024-09-06T03:06:11.443" v="6997" actId="165"/>
          <ac:spMkLst>
            <pc:docMk/>
            <pc:sldMk cId="203184388" sldId="2147471719"/>
            <ac:spMk id="19" creationId="{26D1A17A-AE55-35D1-F049-548F7AC017B1}"/>
          </ac:spMkLst>
        </pc:spChg>
        <pc:spChg chg="mod">
          <ac:chgData name="Connor Xu" userId="a2fa5610-7f85-41f8-9630-afc02cec4fa9" providerId="ADAL" clId="{39D5BF1A-0EE9-496D-9199-853EEBDEDBD5}" dt="2024-09-06T03:06:11.443" v="6997" actId="165"/>
          <ac:spMkLst>
            <pc:docMk/>
            <pc:sldMk cId="203184388" sldId="2147471719"/>
            <ac:spMk id="20" creationId="{9CFFAE0D-847F-04E2-BD99-E337A298E4B6}"/>
          </ac:spMkLst>
        </pc:spChg>
        <pc:spChg chg="mod">
          <ac:chgData name="Connor Xu" userId="a2fa5610-7f85-41f8-9630-afc02cec4fa9" providerId="ADAL" clId="{39D5BF1A-0EE9-496D-9199-853EEBDEDBD5}" dt="2024-09-06T03:06:11.443" v="6997" actId="165"/>
          <ac:spMkLst>
            <pc:docMk/>
            <pc:sldMk cId="203184388" sldId="2147471719"/>
            <ac:spMk id="22" creationId="{E82BDB40-F666-8E73-C6D4-41A737834B69}"/>
          </ac:spMkLst>
        </pc:spChg>
        <pc:spChg chg="mod">
          <ac:chgData name="Connor Xu" userId="a2fa5610-7f85-41f8-9630-afc02cec4fa9" providerId="ADAL" clId="{39D5BF1A-0EE9-496D-9199-853EEBDEDBD5}" dt="2024-09-06T03:06:11.443" v="6997" actId="165"/>
          <ac:spMkLst>
            <pc:docMk/>
            <pc:sldMk cId="203184388" sldId="2147471719"/>
            <ac:spMk id="24" creationId="{236D8A46-1608-FF17-73ED-EA6AE60BC946}"/>
          </ac:spMkLst>
        </pc:spChg>
        <pc:spChg chg="mod">
          <ac:chgData name="Connor Xu" userId="a2fa5610-7f85-41f8-9630-afc02cec4fa9" providerId="ADAL" clId="{39D5BF1A-0EE9-496D-9199-853EEBDEDBD5}" dt="2024-09-06T03:06:11.443" v="6997" actId="165"/>
          <ac:spMkLst>
            <pc:docMk/>
            <pc:sldMk cId="203184388" sldId="2147471719"/>
            <ac:spMk id="27" creationId="{44A06A97-1773-F4DF-1970-000390AFD283}"/>
          </ac:spMkLst>
        </pc:spChg>
        <pc:spChg chg="mod">
          <ac:chgData name="Connor Xu" userId="a2fa5610-7f85-41f8-9630-afc02cec4fa9" providerId="ADAL" clId="{39D5BF1A-0EE9-496D-9199-853EEBDEDBD5}" dt="2024-09-06T03:06:11.443" v="6997" actId="165"/>
          <ac:spMkLst>
            <pc:docMk/>
            <pc:sldMk cId="203184388" sldId="2147471719"/>
            <ac:spMk id="28" creationId="{29482007-58B5-FA87-A50C-182F533B8872}"/>
          </ac:spMkLst>
        </pc:spChg>
        <pc:spChg chg="mod">
          <ac:chgData name="Connor Xu" userId="a2fa5610-7f85-41f8-9630-afc02cec4fa9" providerId="ADAL" clId="{39D5BF1A-0EE9-496D-9199-853EEBDEDBD5}" dt="2024-09-06T03:06:11.443" v="6997" actId="165"/>
          <ac:spMkLst>
            <pc:docMk/>
            <pc:sldMk cId="203184388" sldId="2147471719"/>
            <ac:spMk id="30" creationId="{2E087441-A9B0-FCCC-4A68-B51527C39837}"/>
          </ac:spMkLst>
        </pc:spChg>
        <pc:spChg chg="mod">
          <ac:chgData name="Connor Xu" userId="a2fa5610-7f85-41f8-9630-afc02cec4fa9" providerId="ADAL" clId="{39D5BF1A-0EE9-496D-9199-853EEBDEDBD5}" dt="2024-09-06T03:06:11.443" v="6997" actId="165"/>
          <ac:spMkLst>
            <pc:docMk/>
            <pc:sldMk cId="203184388" sldId="2147471719"/>
            <ac:spMk id="31" creationId="{C141196F-9577-0533-5614-A6D21C210153}"/>
          </ac:spMkLst>
        </pc:spChg>
        <pc:spChg chg="mod">
          <ac:chgData name="Connor Xu" userId="a2fa5610-7f85-41f8-9630-afc02cec4fa9" providerId="ADAL" clId="{39D5BF1A-0EE9-496D-9199-853EEBDEDBD5}" dt="2024-09-06T03:06:11.443" v="6997" actId="165"/>
          <ac:spMkLst>
            <pc:docMk/>
            <pc:sldMk cId="203184388" sldId="2147471719"/>
            <ac:spMk id="32" creationId="{2588FD20-E8E1-9188-51A0-A99A25CF2C01}"/>
          </ac:spMkLst>
        </pc:spChg>
        <pc:spChg chg="mod">
          <ac:chgData name="Connor Xu" userId="a2fa5610-7f85-41f8-9630-afc02cec4fa9" providerId="ADAL" clId="{39D5BF1A-0EE9-496D-9199-853EEBDEDBD5}" dt="2024-09-06T03:06:11.443" v="6997" actId="165"/>
          <ac:spMkLst>
            <pc:docMk/>
            <pc:sldMk cId="203184388" sldId="2147471719"/>
            <ac:spMk id="34" creationId="{489EA775-F643-D7BA-9BCE-9397D2DFF381}"/>
          </ac:spMkLst>
        </pc:spChg>
        <pc:spChg chg="mod">
          <ac:chgData name="Connor Xu" userId="a2fa5610-7f85-41f8-9630-afc02cec4fa9" providerId="ADAL" clId="{39D5BF1A-0EE9-496D-9199-853EEBDEDBD5}" dt="2024-09-06T03:06:11.443" v="6997" actId="165"/>
          <ac:spMkLst>
            <pc:docMk/>
            <pc:sldMk cId="203184388" sldId="2147471719"/>
            <ac:spMk id="36" creationId="{801EA6CE-0A62-E9C2-6145-BCCC3D38660B}"/>
          </ac:spMkLst>
        </pc:spChg>
        <pc:spChg chg="mod">
          <ac:chgData name="Connor Xu" userId="a2fa5610-7f85-41f8-9630-afc02cec4fa9" providerId="ADAL" clId="{39D5BF1A-0EE9-496D-9199-853EEBDEDBD5}" dt="2024-09-06T03:06:11.443" v="6997" actId="165"/>
          <ac:spMkLst>
            <pc:docMk/>
            <pc:sldMk cId="203184388" sldId="2147471719"/>
            <ac:spMk id="38" creationId="{6CA9AA29-FF97-BF83-B288-01334B672479}"/>
          </ac:spMkLst>
        </pc:spChg>
        <pc:spChg chg="mod">
          <ac:chgData name="Connor Xu" userId="a2fa5610-7f85-41f8-9630-afc02cec4fa9" providerId="ADAL" clId="{39D5BF1A-0EE9-496D-9199-853EEBDEDBD5}" dt="2024-09-06T03:06:11.443" v="6997" actId="165"/>
          <ac:spMkLst>
            <pc:docMk/>
            <pc:sldMk cId="203184388" sldId="2147471719"/>
            <ac:spMk id="39" creationId="{2CF4ABCD-DFFA-F4E2-8D10-E0C2F85D4FA2}"/>
          </ac:spMkLst>
        </pc:spChg>
        <pc:spChg chg="mod">
          <ac:chgData name="Connor Xu" userId="a2fa5610-7f85-41f8-9630-afc02cec4fa9" providerId="ADAL" clId="{39D5BF1A-0EE9-496D-9199-853EEBDEDBD5}" dt="2024-09-06T03:06:11.443" v="6997" actId="165"/>
          <ac:spMkLst>
            <pc:docMk/>
            <pc:sldMk cId="203184388" sldId="2147471719"/>
            <ac:spMk id="40" creationId="{C3004F71-9F62-03E5-36CC-16AEE8EFC887}"/>
          </ac:spMkLst>
        </pc:spChg>
        <pc:spChg chg="mod">
          <ac:chgData name="Connor Xu" userId="a2fa5610-7f85-41f8-9630-afc02cec4fa9" providerId="ADAL" clId="{39D5BF1A-0EE9-496D-9199-853EEBDEDBD5}" dt="2024-09-06T03:06:11.443" v="6997" actId="165"/>
          <ac:spMkLst>
            <pc:docMk/>
            <pc:sldMk cId="203184388" sldId="2147471719"/>
            <ac:spMk id="41" creationId="{DA721788-CD3E-5BDF-A96C-15D01AE5EE6A}"/>
          </ac:spMkLst>
        </pc:spChg>
        <pc:spChg chg="mod">
          <ac:chgData name="Connor Xu" userId="a2fa5610-7f85-41f8-9630-afc02cec4fa9" providerId="ADAL" clId="{39D5BF1A-0EE9-496D-9199-853EEBDEDBD5}" dt="2024-09-06T03:06:11.443" v="6997" actId="165"/>
          <ac:spMkLst>
            <pc:docMk/>
            <pc:sldMk cId="203184388" sldId="2147471719"/>
            <ac:spMk id="44" creationId="{50538F72-4B2F-0088-DE08-5911E33B23EE}"/>
          </ac:spMkLst>
        </pc:spChg>
        <pc:spChg chg="mod">
          <ac:chgData name="Connor Xu" userId="a2fa5610-7f85-41f8-9630-afc02cec4fa9" providerId="ADAL" clId="{39D5BF1A-0EE9-496D-9199-853EEBDEDBD5}" dt="2024-09-06T03:06:11.443" v="6997" actId="165"/>
          <ac:spMkLst>
            <pc:docMk/>
            <pc:sldMk cId="203184388" sldId="2147471719"/>
            <ac:spMk id="46" creationId="{27B23404-AB29-71C4-6E9D-7E74955287F2}"/>
          </ac:spMkLst>
        </pc:spChg>
        <pc:spChg chg="mod">
          <ac:chgData name="Connor Xu" userId="a2fa5610-7f85-41f8-9630-afc02cec4fa9" providerId="ADAL" clId="{39D5BF1A-0EE9-496D-9199-853EEBDEDBD5}" dt="2024-09-06T03:06:11.443" v="6997" actId="165"/>
          <ac:spMkLst>
            <pc:docMk/>
            <pc:sldMk cId="203184388" sldId="2147471719"/>
            <ac:spMk id="48" creationId="{82AC539F-9645-8CE0-F0B9-F3861B5E167C}"/>
          </ac:spMkLst>
        </pc:spChg>
        <pc:spChg chg="mod">
          <ac:chgData name="Connor Xu" userId="a2fa5610-7f85-41f8-9630-afc02cec4fa9" providerId="ADAL" clId="{39D5BF1A-0EE9-496D-9199-853EEBDEDBD5}" dt="2024-09-06T03:06:11.443" v="6997" actId="165"/>
          <ac:spMkLst>
            <pc:docMk/>
            <pc:sldMk cId="203184388" sldId="2147471719"/>
            <ac:spMk id="49" creationId="{3CB5EB05-92A2-7F54-4E75-F662BEDFF654}"/>
          </ac:spMkLst>
        </pc:spChg>
        <pc:spChg chg="mod">
          <ac:chgData name="Connor Xu" userId="a2fa5610-7f85-41f8-9630-afc02cec4fa9" providerId="ADAL" clId="{39D5BF1A-0EE9-496D-9199-853EEBDEDBD5}" dt="2024-09-06T03:06:11.443" v="6997" actId="165"/>
          <ac:spMkLst>
            <pc:docMk/>
            <pc:sldMk cId="203184388" sldId="2147471719"/>
            <ac:spMk id="50" creationId="{986BD138-D90A-B770-2297-21E9B841FB9D}"/>
          </ac:spMkLst>
        </pc:spChg>
        <pc:grpChg chg="add del mod">
          <ac:chgData name="Connor Xu" userId="a2fa5610-7f85-41f8-9630-afc02cec4fa9" providerId="ADAL" clId="{39D5BF1A-0EE9-496D-9199-853EEBDEDBD5}" dt="2024-09-06T03:06:11.443" v="6997" actId="165"/>
          <ac:grpSpMkLst>
            <pc:docMk/>
            <pc:sldMk cId="203184388" sldId="2147471719"/>
            <ac:grpSpMk id="4" creationId="{51CF36FD-77C4-BB7E-5966-925A16B9CE4B}"/>
          </ac:grpSpMkLst>
        </pc:grpChg>
        <pc:grpChg chg="mod topLvl">
          <ac:chgData name="Connor Xu" userId="a2fa5610-7f85-41f8-9630-afc02cec4fa9" providerId="ADAL" clId="{39D5BF1A-0EE9-496D-9199-853EEBDEDBD5}" dt="2024-09-06T03:06:11.443" v="6997" actId="165"/>
          <ac:grpSpMkLst>
            <pc:docMk/>
            <pc:sldMk cId="203184388" sldId="2147471719"/>
            <ac:grpSpMk id="6" creationId="{C5861F92-014B-8ACB-F6E7-0C6243B54330}"/>
          </ac:grpSpMkLst>
        </pc:grpChg>
        <pc:grpChg chg="mod topLvl">
          <ac:chgData name="Connor Xu" userId="a2fa5610-7f85-41f8-9630-afc02cec4fa9" providerId="ADAL" clId="{39D5BF1A-0EE9-496D-9199-853EEBDEDBD5}" dt="2024-09-06T03:06:32.455" v="7059" actId="465"/>
          <ac:grpSpMkLst>
            <pc:docMk/>
            <pc:sldMk cId="203184388" sldId="2147471719"/>
            <ac:grpSpMk id="7" creationId="{171F7364-6C5D-45E2-D46A-CCE6F0ECE656}"/>
          </ac:grpSpMkLst>
        </pc:grpChg>
        <pc:grpChg chg="mod topLvl">
          <ac:chgData name="Connor Xu" userId="a2fa5610-7f85-41f8-9630-afc02cec4fa9" providerId="ADAL" clId="{39D5BF1A-0EE9-496D-9199-853EEBDEDBD5}" dt="2024-09-06T03:06:11.443" v="6997" actId="165"/>
          <ac:grpSpMkLst>
            <pc:docMk/>
            <pc:sldMk cId="203184388" sldId="2147471719"/>
            <ac:grpSpMk id="8" creationId="{BCE497F5-7C75-7BEF-9683-053155754824}"/>
          </ac:grpSpMkLst>
        </pc:grpChg>
        <pc:grpChg chg="mod topLvl">
          <ac:chgData name="Connor Xu" userId="a2fa5610-7f85-41f8-9630-afc02cec4fa9" providerId="ADAL" clId="{39D5BF1A-0EE9-496D-9199-853EEBDEDBD5}" dt="2024-09-06T03:06:32.455" v="7059" actId="465"/>
          <ac:grpSpMkLst>
            <pc:docMk/>
            <pc:sldMk cId="203184388" sldId="2147471719"/>
            <ac:grpSpMk id="9" creationId="{A18E7031-63C9-E0B0-F0DE-F17E31306B13}"/>
          </ac:grpSpMkLst>
        </pc:grpChg>
        <pc:grpChg chg="mod topLvl">
          <ac:chgData name="Connor Xu" userId="a2fa5610-7f85-41f8-9630-afc02cec4fa9" providerId="ADAL" clId="{39D5BF1A-0EE9-496D-9199-853EEBDEDBD5}" dt="2024-09-06T03:06:29.194" v="7058" actId="1036"/>
          <ac:grpSpMkLst>
            <pc:docMk/>
            <pc:sldMk cId="203184388" sldId="2147471719"/>
            <ac:grpSpMk id="10" creationId="{61907EEE-3FEA-01BE-C67A-C5798EA72AB1}"/>
          </ac:grpSpMkLst>
        </pc:grpChg>
        <pc:grpChg chg="mod">
          <ac:chgData name="Connor Xu" userId="a2fa5610-7f85-41f8-9630-afc02cec4fa9" providerId="ADAL" clId="{39D5BF1A-0EE9-496D-9199-853EEBDEDBD5}" dt="2024-09-06T03:06:11.443" v="6997" actId="165"/>
          <ac:grpSpMkLst>
            <pc:docMk/>
            <pc:sldMk cId="203184388" sldId="2147471719"/>
            <ac:grpSpMk id="12" creationId="{808BDB00-8CF7-7216-4A17-70FF9FAD026C}"/>
          </ac:grpSpMkLst>
        </pc:grpChg>
        <pc:cxnChg chg="mod topLvl">
          <ac:chgData name="Connor Xu" userId="a2fa5610-7f85-41f8-9630-afc02cec4fa9" providerId="ADAL" clId="{39D5BF1A-0EE9-496D-9199-853EEBDEDBD5}" dt="2024-09-06T03:06:11.443" v="6997" actId="165"/>
          <ac:cxnSpMkLst>
            <pc:docMk/>
            <pc:sldMk cId="203184388" sldId="2147471719"/>
            <ac:cxnSpMk id="5" creationId="{3F2506A4-9BA2-C244-E74E-DE900A5FAF52}"/>
          </ac:cxnSpMkLst>
        </pc:cxnChg>
        <pc:cxnChg chg="mod">
          <ac:chgData name="Connor Xu" userId="a2fa5610-7f85-41f8-9630-afc02cec4fa9" providerId="ADAL" clId="{39D5BF1A-0EE9-496D-9199-853EEBDEDBD5}" dt="2024-09-06T03:06:11.443" v="6997" actId="165"/>
          <ac:cxnSpMkLst>
            <pc:docMk/>
            <pc:sldMk cId="203184388" sldId="2147471719"/>
            <ac:cxnSpMk id="11" creationId="{02011D68-680C-38D5-02D3-15A2A90EB5B3}"/>
          </ac:cxnSpMkLst>
        </pc:cxnChg>
        <pc:cxnChg chg="mod">
          <ac:chgData name="Connor Xu" userId="a2fa5610-7f85-41f8-9630-afc02cec4fa9" providerId="ADAL" clId="{39D5BF1A-0EE9-496D-9199-853EEBDEDBD5}" dt="2024-09-06T03:06:11.443" v="6997" actId="165"/>
          <ac:cxnSpMkLst>
            <pc:docMk/>
            <pc:sldMk cId="203184388" sldId="2147471719"/>
            <ac:cxnSpMk id="17" creationId="{E332B2CB-8DF4-191B-A111-7466DBCB72F7}"/>
          </ac:cxnSpMkLst>
        </pc:cxnChg>
        <pc:cxnChg chg="mod">
          <ac:chgData name="Connor Xu" userId="a2fa5610-7f85-41f8-9630-afc02cec4fa9" providerId="ADAL" clId="{39D5BF1A-0EE9-496D-9199-853EEBDEDBD5}" dt="2024-09-06T03:06:11.443" v="6997" actId="165"/>
          <ac:cxnSpMkLst>
            <pc:docMk/>
            <pc:sldMk cId="203184388" sldId="2147471719"/>
            <ac:cxnSpMk id="21" creationId="{6A4251A6-1344-9169-6C2F-01769A12505F}"/>
          </ac:cxnSpMkLst>
        </pc:cxnChg>
        <pc:cxnChg chg="mod">
          <ac:chgData name="Connor Xu" userId="a2fa5610-7f85-41f8-9630-afc02cec4fa9" providerId="ADAL" clId="{39D5BF1A-0EE9-496D-9199-853EEBDEDBD5}" dt="2024-09-06T03:06:11.443" v="6997" actId="165"/>
          <ac:cxnSpMkLst>
            <pc:docMk/>
            <pc:sldMk cId="203184388" sldId="2147471719"/>
            <ac:cxnSpMk id="23" creationId="{11BD8A40-707B-0234-98F7-4D6D37B94431}"/>
          </ac:cxnSpMkLst>
        </pc:cxnChg>
        <pc:cxnChg chg="mod">
          <ac:chgData name="Connor Xu" userId="a2fa5610-7f85-41f8-9630-afc02cec4fa9" providerId="ADAL" clId="{39D5BF1A-0EE9-496D-9199-853EEBDEDBD5}" dt="2024-09-06T03:06:11.443" v="6997" actId="165"/>
          <ac:cxnSpMkLst>
            <pc:docMk/>
            <pc:sldMk cId="203184388" sldId="2147471719"/>
            <ac:cxnSpMk id="25" creationId="{43093522-E63E-FA18-ACDA-1A03977D2EA2}"/>
          </ac:cxnSpMkLst>
        </pc:cxnChg>
        <pc:cxnChg chg="mod">
          <ac:chgData name="Connor Xu" userId="a2fa5610-7f85-41f8-9630-afc02cec4fa9" providerId="ADAL" clId="{39D5BF1A-0EE9-496D-9199-853EEBDEDBD5}" dt="2024-09-06T03:06:11.443" v="6997" actId="165"/>
          <ac:cxnSpMkLst>
            <pc:docMk/>
            <pc:sldMk cId="203184388" sldId="2147471719"/>
            <ac:cxnSpMk id="26" creationId="{549B6FC3-7162-EDC4-5F50-78B06743532B}"/>
          </ac:cxnSpMkLst>
        </pc:cxnChg>
        <pc:cxnChg chg="mod">
          <ac:chgData name="Connor Xu" userId="a2fa5610-7f85-41f8-9630-afc02cec4fa9" providerId="ADAL" clId="{39D5BF1A-0EE9-496D-9199-853EEBDEDBD5}" dt="2024-09-06T03:06:11.443" v="6997" actId="165"/>
          <ac:cxnSpMkLst>
            <pc:docMk/>
            <pc:sldMk cId="203184388" sldId="2147471719"/>
            <ac:cxnSpMk id="29" creationId="{7CBF5DB2-7AF2-797C-A45C-6AC1568EC679}"/>
          </ac:cxnSpMkLst>
        </pc:cxnChg>
        <pc:cxnChg chg="mod">
          <ac:chgData name="Connor Xu" userId="a2fa5610-7f85-41f8-9630-afc02cec4fa9" providerId="ADAL" clId="{39D5BF1A-0EE9-496D-9199-853EEBDEDBD5}" dt="2024-09-06T03:06:11.443" v="6997" actId="165"/>
          <ac:cxnSpMkLst>
            <pc:docMk/>
            <pc:sldMk cId="203184388" sldId="2147471719"/>
            <ac:cxnSpMk id="33" creationId="{DEFDC37A-3B6F-61DC-8946-FA40CAF576C2}"/>
          </ac:cxnSpMkLst>
        </pc:cxnChg>
        <pc:cxnChg chg="mod">
          <ac:chgData name="Connor Xu" userId="a2fa5610-7f85-41f8-9630-afc02cec4fa9" providerId="ADAL" clId="{39D5BF1A-0EE9-496D-9199-853EEBDEDBD5}" dt="2024-09-06T03:06:11.443" v="6997" actId="165"/>
          <ac:cxnSpMkLst>
            <pc:docMk/>
            <pc:sldMk cId="203184388" sldId="2147471719"/>
            <ac:cxnSpMk id="35" creationId="{05046320-E11D-7404-5023-9DB915ACDE7B}"/>
          </ac:cxnSpMkLst>
        </pc:cxnChg>
        <pc:cxnChg chg="mod">
          <ac:chgData name="Connor Xu" userId="a2fa5610-7f85-41f8-9630-afc02cec4fa9" providerId="ADAL" clId="{39D5BF1A-0EE9-496D-9199-853EEBDEDBD5}" dt="2024-09-06T03:06:11.443" v="6997" actId="165"/>
          <ac:cxnSpMkLst>
            <pc:docMk/>
            <pc:sldMk cId="203184388" sldId="2147471719"/>
            <ac:cxnSpMk id="37" creationId="{A53C544B-2EA0-07E2-F6B8-443D0555293B}"/>
          </ac:cxnSpMkLst>
        </pc:cxnChg>
        <pc:cxnChg chg="mod">
          <ac:chgData name="Connor Xu" userId="a2fa5610-7f85-41f8-9630-afc02cec4fa9" providerId="ADAL" clId="{39D5BF1A-0EE9-496D-9199-853EEBDEDBD5}" dt="2024-09-06T03:06:11.443" v="6997" actId="165"/>
          <ac:cxnSpMkLst>
            <pc:docMk/>
            <pc:sldMk cId="203184388" sldId="2147471719"/>
            <ac:cxnSpMk id="42" creationId="{96F75C17-1153-5407-FE9B-A68F42C797F8}"/>
          </ac:cxnSpMkLst>
        </pc:cxnChg>
        <pc:cxnChg chg="mod">
          <ac:chgData name="Connor Xu" userId="a2fa5610-7f85-41f8-9630-afc02cec4fa9" providerId="ADAL" clId="{39D5BF1A-0EE9-496D-9199-853EEBDEDBD5}" dt="2024-09-06T03:06:11.443" v="6997" actId="165"/>
          <ac:cxnSpMkLst>
            <pc:docMk/>
            <pc:sldMk cId="203184388" sldId="2147471719"/>
            <ac:cxnSpMk id="43" creationId="{EC44B5E9-0BDE-CE9E-78FB-FC78BE045CAB}"/>
          </ac:cxnSpMkLst>
        </pc:cxnChg>
        <pc:cxnChg chg="mod">
          <ac:chgData name="Connor Xu" userId="a2fa5610-7f85-41f8-9630-afc02cec4fa9" providerId="ADAL" clId="{39D5BF1A-0EE9-496D-9199-853EEBDEDBD5}" dt="2024-09-06T03:06:11.443" v="6997" actId="165"/>
          <ac:cxnSpMkLst>
            <pc:docMk/>
            <pc:sldMk cId="203184388" sldId="2147471719"/>
            <ac:cxnSpMk id="45" creationId="{87E6CF35-08C0-E533-AC5D-4EB21FF3408E}"/>
          </ac:cxnSpMkLst>
        </pc:cxnChg>
        <pc:cxnChg chg="mod">
          <ac:chgData name="Connor Xu" userId="a2fa5610-7f85-41f8-9630-afc02cec4fa9" providerId="ADAL" clId="{39D5BF1A-0EE9-496D-9199-853EEBDEDBD5}" dt="2024-09-06T03:06:11.443" v="6997" actId="165"/>
          <ac:cxnSpMkLst>
            <pc:docMk/>
            <pc:sldMk cId="203184388" sldId="2147471719"/>
            <ac:cxnSpMk id="47" creationId="{EE094683-83A7-3A8A-6BEF-5A0A1E3BD793}"/>
          </ac:cxnSpMkLst>
        </pc:cxnChg>
      </pc:sldChg>
      <pc:sldChg chg="addSp delSp modSp new del mod ord">
        <pc:chgData name="Connor Xu" userId="a2fa5610-7f85-41f8-9630-afc02cec4fa9" providerId="ADAL" clId="{39D5BF1A-0EE9-496D-9199-853EEBDEDBD5}" dt="2024-09-06T02:29:58.726" v="4843" actId="47"/>
        <pc:sldMkLst>
          <pc:docMk/>
          <pc:sldMk cId="1553864509" sldId="2147471719"/>
        </pc:sldMkLst>
        <pc:spChg chg="del">
          <ac:chgData name="Connor Xu" userId="a2fa5610-7f85-41f8-9630-afc02cec4fa9" providerId="ADAL" clId="{39D5BF1A-0EE9-496D-9199-853EEBDEDBD5}" dt="2024-09-06T02:10:46.179" v="3779" actId="478"/>
          <ac:spMkLst>
            <pc:docMk/>
            <pc:sldMk cId="1553864509" sldId="2147471719"/>
            <ac:spMk id="2" creationId="{8704E6DD-AD05-C9ED-FF53-255D7C87E2E8}"/>
          </ac:spMkLst>
        </pc:spChg>
        <pc:spChg chg="del">
          <ac:chgData name="Connor Xu" userId="a2fa5610-7f85-41f8-9630-afc02cec4fa9" providerId="ADAL" clId="{39D5BF1A-0EE9-496D-9199-853EEBDEDBD5}" dt="2024-09-06T02:10:46.179" v="3779" actId="478"/>
          <ac:spMkLst>
            <pc:docMk/>
            <pc:sldMk cId="1553864509" sldId="2147471719"/>
            <ac:spMk id="3" creationId="{67ECACD9-BEF5-8BB7-D57B-CE2AD4244F11}"/>
          </ac:spMkLst>
        </pc:spChg>
        <pc:spChg chg="mod">
          <ac:chgData name="Connor Xu" userId="a2fa5610-7f85-41f8-9630-afc02cec4fa9" providerId="ADAL" clId="{39D5BF1A-0EE9-496D-9199-853EEBDEDBD5}" dt="2024-09-06T02:16:31.459" v="4566" actId="255"/>
          <ac:spMkLst>
            <pc:docMk/>
            <pc:sldMk cId="1553864509" sldId="2147471719"/>
            <ac:spMk id="5" creationId="{265E087B-1BD7-A4E4-D920-47E42E16EB5E}"/>
          </ac:spMkLst>
        </pc:spChg>
        <pc:spChg chg="mod">
          <ac:chgData name="Connor Xu" userId="a2fa5610-7f85-41f8-9630-afc02cec4fa9" providerId="ADAL" clId="{39D5BF1A-0EE9-496D-9199-853EEBDEDBD5}" dt="2024-09-06T02:16:33.783" v="4568" actId="403"/>
          <ac:spMkLst>
            <pc:docMk/>
            <pc:sldMk cId="1553864509" sldId="2147471719"/>
            <ac:spMk id="6" creationId="{3609A895-FDED-CB5A-6D42-872786FF1E5B}"/>
          </ac:spMkLst>
        </pc:spChg>
        <pc:spChg chg="add mod">
          <ac:chgData name="Connor Xu" userId="a2fa5610-7f85-41f8-9630-afc02cec4fa9" providerId="ADAL" clId="{39D5BF1A-0EE9-496D-9199-853EEBDEDBD5}" dt="2024-09-06T02:10:55.253" v="3782" actId="207"/>
          <ac:spMkLst>
            <pc:docMk/>
            <pc:sldMk cId="1553864509" sldId="2147471719"/>
            <ac:spMk id="7" creationId="{7E2453D8-EB14-4C56-9673-F7077AEA2A7F}"/>
          </ac:spMkLst>
        </pc:spChg>
        <pc:spChg chg="add mod">
          <ac:chgData name="Connor Xu" userId="a2fa5610-7f85-41f8-9630-afc02cec4fa9" providerId="ADAL" clId="{39D5BF1A-0EE9-496D-9199-853EEBDEDBD5}" dt="2024-09-06T02:10:55.253" v="3782" actId="207"/>
          <ac:spMkLst>
            <pc:docMk/>
            <pc:sldMk cId="1553864509" sldId="2147471719"/>
            <ac:spMk id="9" creationId="{866789AB-F9EA-00C2-7DCC-39036DD54153}"/>
          </ac:spMkLst>
        </pc:spChg>
        <pc:spChg chg="add mod">
          <ac:chgData name="Connor Xu" userId="a2fa5610-7f85-41f8-9630-afc02cec4fa9" providerId="ADAL" clId="{39D5BF1A-0EE9-496D-9199-853EEBDEDBD5}" dt="2024-09-06T02:10:55.253" v="3782" actId="207"/>
          <ac:spMkLst>
            <pc:docMk/>
            <pc:sldMk cId="1553864509" sldId="2147471719"/>
            <ac:spMk id="10" creationId="{3B76064E-9F3A-8829-A388-398E849C4352}"/>
          </ac:spMkLst>
        </pc:spChg>
        <pc:spChg chg="mod">
          <ac:chgData name="Connor Xu" userId="a2fa5610-7f85-41f8-9630-afc02cec4fa9" providerId="ADAL" clId="{39D5BF1A-0EE9-496D-9199-853EEBDEDBD5}" dt="2024-09-06T02:16:36.372" v="4570" actId="403"/>
          <ac:spMkLst>
            <pc:docMk/>
            <pc:sldMk cId="1553864509" sldId="2147471719"/>
            <ac:spMk id="12" creationId="{9CBF155F-ABCF-ECB2-1463-D18C62E89E8E}"/>
          </ac:spMkLst>
        </pc:spChg>
        <pc:spChg chg="mod">
          <ac:chgData name="Connor Xu" userId="a2fa5610-7f85-41f8-9630-afc02cec4fa9" providerId="ADAL" clId="{39D5BF1A-0EE9-496D-9199-853EEBDEDBD5}" dt="2024-09-06T02:17:58.477" v="4602" actId="20577"/>
          <ac:spMkLst>
            <pc:docMk/>
            <pc:sldMk cId="1553864509" sldId="2147471719"/>
            <ac:spMk id="13" creationId="{C19A4E73-C7FF-9EE5-0428-BC0E8BA75786}"/>
          </ac:spMkLst>
        </pc:spChg>
        <pc:spChg chg="mod">
          <ac:chgData name="Connor Xu" userId="a2fa5610-7f85-41f8-9630-afc02cec4fa9" providerId="ADAL" clId="{39D5BF1A-0EE9-496D-9199-853EEBDEDBD5}" dt="2024-09-06T02:16:38.389" v="4572" actId="403"/>
          <ac:spMkLst>
            <pc:docMk/>
            <pc:sldMk cId="1553864509" sldId="2147471719"/>
            <ac:spMk id="15" creationId="{E4A4A2B8-8D34-441D-63F9-39235C4643C1}"/>
          </ac:spMkLst>
        </pc:spChg>
        <pc:spChg chg="mod">
          <ac:chgData name="Connor Xu" userId="a2fa5610-7f85-41f8-9630-afc02cec4fa9" providerId="ADAL" clId="{39D5BF1A-0EE9-496D-9199-853EEBDEDBD5}" dt="2024-09-06T02:18:14.142" v="4603" actId="20577"/>
          <ac:spMkLst>
            <pc:docMk/>
            <pc:sldMk cId="1553864509" sldId="2147471719"/>
            <ac:spMk id="16" creationId="{3C30F6CB-D8E0-D77C-21BA-97D758E54EB4}"/>
          </ac:spMkLst>
        </pc:spChg>
        <pc:spChg chg="mod">
          <ac:chgData name="Connor Xu" userId="a2fa5610-7f85-41f8-9630-afc02cec4fa9" providerId="ADAL" clId="{39D5BF1A-0EE9-496D-9199-853EEBDEDBD5}" dt="2024-09-06T02:16:40.934" v="4574" actId="403"/>
          <ac:spMkLst>
            <pc:docMk/>
            <pc:sldMk cId="1553864509" sldId="2147471719"/>
            <ac:spMk id="18" creationId="{E3B8CB37-4CA0-E10F-0890-D6525DB16724}"/>
          </ac:spMkLst>
        </pc:spChg>
        <pc:spChg chg="mod">
          <ac:chgData name="Connor Xu" userId="a2fa5610-7f85-41f8-9630-afc02cec4fa9" providerId="ADAL" clId="{39D5BF1A-0EE9-496D-9199-853EEBDEDBD5}" dt="2024-09-06T02:16:31.459" v="4566" actId="255"/>
          <ac:spMkLst>
            <pc:docMk/>
            <pc:sldMk cId="1553864509" sldId="2147471719"/>
            <ac:spMk id="19" creationId="{A9302E11-C868-07C4-8532-BD8A2BAD8EDE}"/>
          </ac:spMkLst>
        </pc:spChg>
        <pc:spChg chg="add mod">
          <ac:chgData name="Connor Xu" userId="a2fa5610-7f85-41f8-9630-afc02cec4fa9" providerId="ADAL" clId="{39D5BF1A-0EE9-496D-9199-853EEBDEDBD5}" dt="2024-09-06T02:10:55.253" v="3782" actId="207"/>
          <ac:spMkLst>
            <pc:docMk/>
            <pc:sldMk cId="1553864509" sldId="2147471719"/>
            <ac:spMk id="20" creationId="{02743729-1141-06BF-24EE-254986BF89AC}"/>
          </ac:spMkLst>
        </pc:spChg>
        <pc:spChg chg="add mod">
          <ac:chgData name="Connor Xu" userId="a2fa5610-7f85-41f8-9630-afc02cec4fa9" providerId="ADAL" clId="{39D5BF1A-0EE9-496D-9199-853EEBDEDBD5}" dt="2024-09-06T02:10:55.253" v="3782" actId="207"/>
          <ac:spMkLst>
            <pc:docMk/>
            <pc:sldMk cId="1553864509" sldId="2147471719"/>
            <ac:spMk id="21" creationId="{9113E357-6128-6527-1731-0FB55CF066F6}"/>
          </ac:spMkLst>
        </pc:spChg>
        <pc:grpChg chg="add mod">
          <ac:chgData name="Connor Xu" userId="a2fa5610-7f85-41f8-9630-afc02cec4fa9" providerId="ADAL" clId="{39D5BF1A-0EE9-496D-9199-853EEBDEDBD5}" dt="2024-09-06T02:18:36.567" v="4605" actId="14100"/>
          <ac:grpSpMkLst>
            <pc:docMk/>
            <pc:sldMk cId="1553864509" sldId="2147471719"/>
            <ac:grpSpMk id="4" creationId="{5264794A-24EE-2B3C-9BCA-229B3008DAAE}"/>
          </ac:grpSpMkLst>
        </pc:grpChg>
        <pc:grpChg chg="add mod">
          <ac:chgData name="Connor Xu" userId="a2fa5610-7f85-41f8-9630-afc02cec4fa9" providerId="ADAL" clId="{39D5BF1A-0EE9-496D-9199-853EEBDEDBD5}" dt="2024-09-06T02:18:36.567" v="4605" actId="14100"/>
          <ac:grpSpMkLst>
            <pc:docMk/>
            <pc:sldMk cId="1553864509" sldId="2147471719"/>
            <ac:grpSpMk id="11" creationId="{A619FE17-0DFB-E819-B4B1-831DD6720D0D}"/>
          </ac:grpSpMkLst>
        </pc:grpChg>
        <pc:grpChg chg="add mod">
          <ac:chgData name="Connor Xu" userId="a2fa5610-7f85-41f8-9630-afc02cec4fa9" providerId="ADAL" clId="{39D5BF1A-0EE9-496D-9199-853EEBDEDBD5}" dt="2024-09-06T02:18:36.567" v="4605" actId="14100"/>
          <ac:grpSpMkLst>
            <pc:docMk/>
            <pc:sldMk cId="1553864509" sldId="2147471719"/>
            <ac:grpSpMk id="14" creationId="{17B1CA80-1A22-FA88-8BC6-5E01000090AA}"/>
          </ac:grpSpMkLst>
        </pc:grpChg>
        <pc:grpChg chg="add mod">
          <ac:chgData name="Connor Xu" userId="a2fa5610-7f85-41f8-9630-afc02cec4fa9" providerId="ADAL" clId="{39D5BF1A-0EE9-496D-9199-853EEBDEDBD5}" dt="2024-09-06T02:18:36.567" v="4605" actId="14100"/>
          <ac:grpSpMkLst>
            <pc:docMk/>
            <pc:sldMk cId="1553864509" sldId="2147471719"/>
            <ac:grpSpMk id="17" creationId="{86670C98-937F-D177-4619-27AD7FAF79CA}"/>
          </ac:grpSpMkLst>
        </pc:grpChg>
        <pc:cxnChg chg="add mod">
          <ac:chgData name="Connor Xu" userId="a2fa5610-7f85-41f8-9630-afc02cec4fa9" providerId="ADAL" clId="{39D5BF1A-0EE9-496D-9199-853EEBDEDBD5}" dt="2024-09-06T02:10:50.401" v="3781" actId="1076"/>
          <ac:cxnSpMkLst>
            <pc:docMk/>
            <pc:sldMk cId="1553864509" sldId="2147471719"/>
            <ac:cxnSpMk id="8" creationId="{A3C61A07-23FF-D2C2-762A-F18432864347}"/>
          </ac:cxnSpMkLst>
        </pc:cxnChg>
      </pc:sldChg>
    </pc:docChg>
  </pc:docChgLst>
  <pc:docChgLst>
    <pc:chgData name="Jackson Quinn" userId="f4787004-1b70-4f1d-97ed-cc65f8b67785" providerId="ADAL" clId="{62A05F19-1935-438D-AEF2-C371068852F3}"/>
    <pc:docChg chg="modSld delSection">
      <pc:chgData name="Jackson Quinn" userId="f4787004-1b70-4f1d-97ed-cc65f8b67785" providerId="ADAL" clId="{62A05F19-1935-438D-AEF2-C371068852F3}" dt="2024-09-20T03:46:22.534" v="34" actId="17851"/>
      <pc:docMkLst>
        <pc:docMk/>
      </pc:docMkLst>
      <pc:sldChg chg="modSp mod">
        <pc:chgData name="Jackson Quinn" userId="f4787004-1b70-4f1d-97ed-cc65f8b67785" providerId="ADAL" clId="{62A05F19-1935-438D-AEF2-C371068852F3}" dt="2024-09-20T01:26:53.708" v="33" actId="20577"/>
        <pc:sldMkLst>
          <pc:docMk/>
          <pc:sldMk cId="3735286326" sldId="2147471729"/>
        </pc:sldMkLst>
        <pc:spChg chg="mod">
          <ac:chgData name="Jackson Quinn" userId="f4787004-1b70-4f1d-97ed-cc65f8b67785" providerId="ADAL" clId="{62A05F19-1935-438D-AEF2-C371068852F3}" dt="2024-09-20T01:26:53.708" v="33" actId="20577"/>
          <ac:spMkLst>
            <pc:docMk/>
            <pc:sldMk cId="3735286326" sldId="2147471729"/>
            <ac:spMk id="9" creationId="{EC7C2BED-2407-5028-C4AF-EF23897CE63F}"/>
          </ac:spMkLst>
        </pc:spChg>
      </pc:sldChg>
    </pc:docChg>
  </pc:docChgLst>
  <pc:docChgLst>
    <pc:chgData name="Helena Worthington (DTF)" userId="872c2340-4a31-4883-b18d-67548b3a9bcd" providerId="ADAL" clId="{2BFD7D1B-0CDA-4C7D-80DB-72D43356BB4E}"/>
    <pc:docChg chg="modSld">
      <pc:chgData name="Helena Worthington (DTF)" userId="872c2340-4a31-4883-b18d-67548b3a9bcd" providerId="ADAL" clId="{2BFD7D1B-0CDA-4C7D-80DB-72D43356BB4E}" dt="2024-10-13T22:16:24.051" v="6" actId="207"/>
      <pc:docMkLst>
        <pc:docMk/>
      </pc:docMkLst>
      <pc:sldChg chg="modSp">
        <pc:chgData name="Helena Worthington (DTF)" userId="872c2340-4a31-4883-b18d-67548b3a9bcd" providerId="ADAL" clId="{2BFD7D1B-0CDA-4C7D-80DB-72D43356BB4E}" dt="2024-10-13T22:08:34.108" v="0" actId="20578"/>
        <pc:sldMkLst>
          <pc:docMk/>
          <pc:sldMk cId="3575811757" sldId="2147471719"/>
        </pc:sldMkLst>
        <pc:spChg chg="mod">
          <ac:chgData name="Helena Worthington (DTF)" userId="872c2340-4a31-4883-b18d-67548b3a9bcd" providerId="ADAL" clId="{2BFD7D1B-0CDA-4C7D-80DB-72D43356BB4E}" dt="2024-10-13T22:08:34.108" v="0" actId="20578"/>
          <ac:spMkLst>
            <pc:docMk/>
            <pc:sldMk cId="3575811757" sldId="2147471719"/>
            <ac:spMk id="24" creationId="{A68786C5-0F08-67B4-EF2E-B2FD83DED675}"/>
          </ac:spMkLst>
        </pc:spChg>
      </pc:sldChg>
      <pc:sldChg chg="modSp mod">
        <pc:chgData name="Helena Worthington (DTF)" userId="872c2340-4a31-4883-b18d-67548b3a9bcd" providerId="ADAL" clId="{2BFD7D1B-0CDA-4C7D-80DB-72D43356BB4E}" dt="2024-10-13T22:16:24.051" v="6" actId="207"/>
        <pc:sldMkLst>
          <pc:docMk/>
          <pc:sldMk cId="825503615" sldId="2147471730"/>
        </pc:sldMkLst>
        <pc:spChg chg="mod">
          <ac:chgData name="Helena Worthington (DTF)" userId="872c2340-4a31-4883-b18d-67548b3a9bcd" providerId="ADAL" clId="{2BFD7D1B-0CDA-4C7D-80DB-72D43356BB4E}" dt="2024-10-13T22:16:24.051" v="6" actId="207"/>
          <ac:spMkLst>
            <pc:docMk/>
            <pc:sldMk cId="825503615" sldId="2147471730"/>
            <ac:spMk id="32" creationId="{89A7D073-8D92-326D-B42E-0A25872A81E6}"/>
          </ac:spMkLst>
        </pc:spChg>
        <pc:spChg chg="mod">
          <ac:chgData name="Helena Worthington (DTF)" userId="872c2340-4a31-4883-b18d-67548b3a9bcd" providerId="ADAL" clId="{2BFD7D1B-0CDA-4C7D-80DB-72D43356BB4E}" dt="2024-10-13T22:16:20.572" v="5" actId="207"/>
          <ac:spMkLst>
            <pc:docMk/>
            <pc:sldMk cId="825503615" sldId="2147471730"/>
            <ac:spMk id="35" creationId="{34C42425-7561-62F5-0716-834129C55E35}"/>
          </ac:spMkLst>
        </pc:spChg>
        <pc:spChg chg="mod">
          <ac:chgData name="Helena Worthington (DTF)" userId="872c2340-4a31-4883-b18d-67548b3a9bcd" providerId="ADAL" clId="{2BFD7D1B-0CDA-4C7D-80DB-72D43356BB4E}" dt="2024-10-13T22:16:17.979" v="4" actId="207"/>
          <ac:spMkLst>
            <pc:docMk/>
            <pc:sldMk cId="825503615" sldId="2147471730"/>
            <ac:spMk id="39" creationId="{53DF164F-9FF2-43BB-1907-0AC45794D31D}"/>
          </ac:spMkLst>
        </pc:spChg>
        <pc:spChg chg="mod">
          <ac:chgData name="Helena Worthington (DTF)" userId="872c2340-4a31-4883-b18d-67548b3a9bcd" providerId="ADAL" clId="{2BFD7D1B-0CDA-4C7D-80DB-72D43356BB4E}" dt="2024-10-13T22:14:43.336" v="1" actId="207"/>
          <ac:spMkLst>
            <pc:docMk/>
            <pc:sldMk cId="825503615" sldId="2147471730"/>
            <ac:spMk id="43" creationId="{E4BBEB7A-B70E-C2FB-D323-11ECD914BD2B}"/>
          </ac:spMkLst>
        </pc:spChg>
        <pc:spChg chg="mod">
          <ac:chgData name="Helena Worthington (DTF)" userId="872c2340-4a31-4883-b18d-67548b3a9bcd" providerId="ADAL" clId="{2BFD7D1B-0CDA-4C7D-80DB-72D43356BB4E}" dt="2024-10-13T22:14:51.442" v="3" actId="207"/>
          <ac:spMkLst>
            <pc:docMk/>
            <pc:sldMk cId="825503615" sldId="2147471730"/>
            <ac:spMk id="44" creationId="{9C43858B-5A97-3C3D-B6F8-AC63228C66E1}"/>
          </ac:spMkLst>
        </pc:spChg>
        <pc:spChg chg="mod">
          <ac:chgData name="Helena Worthington (DTF)" userId="872c2340-4a31-4883-b18d-67548b3a9bcd" providerId="ADAL" clId="{2BFD7D1B-0CDA-4C7D-80DB-72D43356BB4E}" dt="2024-10-13T22:14:46.569" v="2" actId="207"/>
          <ac:spMkLst>
            <pc:docMk/>
            <pc:sldMk cId="825503615" sldId="2147471730"/>
            <ac:spMk id="45" creationId="{47048286-AD81-DDD8-D2AA-100E287CDACB}"/>
          </ac:spMkLst>
        </pc:spChg>
      </pc:sldChg>
    </pc:docChg>
  </pc:docChgLst>
  <pc:docChgLst>
    <pc:chgData name="Travis Cunningham (DTF)" userId="a2431d88-02bc-480b-9ad1-66fe40f0e035" providerId="ADAL" clId="{B905C0E0-5A7E-4B1A-8D6B-22FB5F4F4B12}"/>
    <pc:docChg chg="modSld">
      <pc:chgData name="Travis Cunningham (DTF)" userId="a2431d88-02bc-480b-9ad1-66fe40f0e035" providerId="ADAL" clId="{B905C0E0-5A7E-4B1A-8D6B-22FB5F4F4B12}" dt="2024-10-15T23:40:45.066" v="0" actId="400"/>
      <pc:docMkLst>
        <pc:docMk/>
      </pc:docMkLst>
      <pc:sldChg chg="modSp mod">
        <pc:chgData name="Travis Cunningham (DTF)" userId="a2431d88-02bc-480b-9ad1-66fe40f0e035" providerId="ADAL" clId="{B905C0E0-5A7E-4B1A-8D6B-22FB5F4F4B12}" dt="2024-10-15T23:40:45.066" v="0" actId="400"/>
        <pc:sldMkLst>
          <pc:docMk/>
          <pc:sldMk cId="2717348167" sldId="2147471724"/>
        </pc:sldMkLst>
        <pc:graphicFrameChg chg="modGraphic">
          <ac:chgData name="Travis Cunningham (DTF)" userId="a2431d88-02bc-480b-9ad1-66fe40f0e035" providerId="ADAL" clId="{B905C0E0-5A7E-4B1A-8D6B-22FB5F4F4B12}" dt="2024-10-15T23:40:45.066" v="0" actId="400"/>
          <ac:graphicFrameMkLst>
            <pc:docMk/>
            <pc:sldMk cId="2717348167" sldId="2147471724"/>
            <ac:graphicFrameMk id="4" creationId="{BD48924B-0496-CA2C-8D73-A47E59DB3E4C}"/>
          </ac:graphicFrameMkLst>
        </pc:graphicFrameChg>
      </pc:sldChg>
    </pc:docChg>
  </pc:docChgLst>
  <pc:docChgLst>
    <pc:chgData name="Claire Noone" userId="S::claire.noone@nousgroup.com::4205f047-17a4-4705-b4ef-4fb8d686e543" providerId="AD" clId="Web-{47370187-4496-350F-B076-910F0D847620}"/>
    <pc:docChg chg="modSld">
      <pc:chgData name="Claire Noone" userId="S::claire.noone@nousgroup.com::4205f047-17a4-4705-b4ef-4fb8d686e543" providerId="AD" clId="Web-{47370187-4496-350F-B076-910F0D847620}" dt="2024-09-19T04:50:37.398" v="17" actId="20577"/>
      <pc:docMkLst>
        <pc:docMk/>
      </pc:docMkLst>
      <pc:sldChg chg="modSp">
        <pc:chgData name="Claire Noone" userId="S::claire.noone@nousgroup.com::4205f047-17a4-4705-b4ef-4fb8d686e543" providerId="AD" clId="Web-{47370187-4496-350F-B076-910F0D847620}" dt="2024-09-19T04:47:43.127" v="0" actId="20577"/>
        <pc:sldMkLst>
          <pc:docMk/>
          <pc:sldMk cId="3735286326" sldId="2147471729"/>
        </pc:sldMkLst>
        <pc:spChg chg="mod">
          <ac:chgData name="Claire Noone" userId="S::claire.noone@nousgroup.com::4205f047-17a4-4705-b4ef-4fb8d686e543" providerId="AD" clId="Web-{47370187-4496-350F-B076-910F0D847620}" dt="2024-09-19T04:47:43.127" v="0" actId="20577"/>
          <ac:spMkLst>
            <pc:docMk/>
            <pc:sldMk cId="3735286326" sldId="2147471729"/>
            <ac:spMk id="10" creationId="{943ECE6E-897E-B14C-3F86-EDF303FB621E}"/>
          </ac:spMkLst>
        </pc:spChg>
      </pc:sldChg>
      <pc:sldChg chg="modSp">
        <pc:chgData name="Claire Noone" userId="S::claire.noone@nousgroup.com::4205f047-17a4-4705-b4ef-4fb8d686e543" providerId="AD" clId="Web-{47370187-4496-350F-B076-910F0D847620}" dt="2024-09-19T04:50:37.398" v="17" actId="20577"/>
        <pc:sldMkLst>
          <pc:docMk/>
          <pc:sldMk cId="3355992997" sldId="2147471736"/>
        </pc:sldMkLst>
        <pc:spChg chg="mod">
          <ac:chgData name="Claire Noone" userId="S::claire.noone@nousgroup.com::4205f047-17a4-4705-b4ef-4fb8d686e543" providerId="AD" clId="Web-{47370187-4496-350F-B076-910F0D847620}" dt="2024-09-19T04:50:37.398" v="17" actId="20577"/>
          <ac:spMkLst>
            <pc:docMk/>
            <pc:sldMk cId="3355992997" sldId="2147471736"/>
            <ac:spMk id="3" creationId="{0B0E0EEE-AAF7-27D9-5453-D9B85663617E}"/>
          </ac:spMkLst>
        </pc:spChg>
      </pc:sldChg>
    </pc:docChg>
  </pc:docChgLst>
  <pc:docChgLst>
    <pc:chgData name="Connor Xu" userId="a2fa5610-7f85-41f8-9630-afc02cec4fa9" providerId="ADAL" clId="{EE18113F-3779-4A65-87D1-C584C28E733E}"/>
    <pc:docChg chg="addSld delSld modSld sldOrd delSection modSection">
      <pc:chgData name="Connor Xu" userId="a2fa5610-7f85-41f8-9630-afc02cec4fa9" providerId="ADAL" clId="{EE18113F-3779-4A65-87D1-C584C28E733E}" dt="2024-09-02T06:27:46.713" v="263" actId="47"/>
      <pc:docMkLst>
        <pc:docMk/>
      </pc:docMkLst>
      <pc:sldChg chg="add del">
        <pc:chgData name="Connor Xu" userId="a2fa5610-7f85-41f8-9630-afc02cec4fa9" providerId="ADAL" clId="{EE18113F-3779-4A65-87D1-C584C28E733E}" dt="2024-09-02T06:08:42.722" v="38" actId="47"/>
        <pc:sldMkLst>
          <pc:docMk/>
          <pc:sldMk cId="2160923306" sldId="256"/>
        </pc:sldMkLst>
      </pc:sldChg>
      <pc:sldChg chg="del">
        <pc:chgData name="Connor Xu" userId="a2fa5610-7f85-41f8-9630-afc02cec4fa9" providerId="ADAL" clId="{EE18113F-3779-4A65-87D1-C584C28E733E}" dt="2024-09-02T06:22:56.974" v="152" actId="47"/>
        <pc:sldMkLst>
          <pc:docMk/>
          <pc:sldMk cId="3262821177" sldId="270"/>
        </pc:sldMkLst>
      </pc:sldChg>
      <pc:sldChg chg="del">
        <pc:chgData name="Connor Xu" userId="a2fa5610-7f85-41f8-9630-afc02cec4fa9" providerId="ADAL" clId="{EE18113F-3779-4A65-87D1-C584C28E733E}" dt="2024-09-02T06:22:55.811" v="140" actId="47"/>
        <pc:sldMkLst>
          <pc:docMk/>
          <pc:sldMk cId="1031989482" sldId="2145706307"/>
        </pc:sldMkLst>
      </pc:sldChg>
      <pc:sldChg chg="del">
        <pc:chgData name="Connor Xu" userId="a2fa5610-7f85-41f8-9630-afc02cec4fa9" providerId="ADAL" clId="{EE18113F-3779-4A65-87D1-C584C28E733E}" dt="2024-09-02T06:22:55.710" v="139" actId="47"/>
        <pc:sldMkLst>
          <pc:docMk/>
          <pc:sldMk cId="4194741347" sldId="2145706536"/>
        </pc:sldMkLst>
      </pc:sldChg>
      <pc:sldChg chg="del">
        <pc:chgData name="Connor Xu" userId="a2fa5610-7f85-41f8-9630-afc02cec4fa9" providerId="ADAL" clId="{EE18113F-3779-4A65-87D1-C584C28E733E}" dt="2024-09-02T06:22:56.677" v="143" actId="47"/>
        <pc:sldMkLst>
          <pc:docMk/>
          <pc:sldMk cId="2176534885" sldId="2147471267"/>
        </pc:sldMkLst>
      </pc:sldChg>
      <pc:sldChg chg="del">
        <pc:chgData name="Connor Xu" userId="a2fa5610-7f85-41f8-9630-afc02cec4fa9" providerId="ADAL" clId="{EE18113F-3779-4A65-87D1-C584C28E733E}" dt="2024-09-02T06:22:56.713" v="144" actId="47"/>
        <pc:sldMkLst>
          <pc:docMk/>
          <pc:sldMk cId="1879541994" sldId="2147471296"/>
        </pc:sldMkLst>
      </pc:sldChg>
      <pc:sldChg chg="del">
        <pc:chgData name="Connor Xu" userId="a2fa5610-7f85-41f8-9630-afc02cec4fa9" providerId="ADAL" clId="{EE18113F-3779-4A65-87D1-C584C28E733E}" dt="2024-09-02T06:22:56.739" v="145" actId="47"/>
        <pc:sldMkLst>
          <pc:docMk/>
          <pc:sldMk cId="3454937915" sldId="2147471306"/>
        </pc:sldMkLst>
      </pc:sldChg>
      <pc:sldChg chg="add del">
        <pc:chgData name="Connor Xu" userId="a2fa5610-7f85-41f8-9630-afc02cec4fa9" providerId="ADAL" clId="{EE18113F-3779-4A65-87D1-C584C28E733E}" dt="2024-09-02T06:07:34.210" v="2"/>
        <pc:sldMkLst>
          <pc:docMk/>
          <pc:sldMk cId="3452808978" sldId="2147471352"/>
        </pc:sldMkLst>
      </pc:sldChg>
      <pc:sldChg chg="add del">
        <pc:chgData name="Connor Xu" userId="a2fa5610-7f85-41f8-9630-afc02cec4fa9" providerId="ADAL" clId="{EE18113F-3779-4A65-87D1-C584C28E733E}" dt="2024-09-02T06:07:34.210" v="2"/>
        <pc:sldMkLst>
          <pc:docMk/>
          <pc:sldMk cId="2783805322" sldId="2147471357"/>
        </pc:sldMkLst>
      </pc:sldChg>
      <pc:sldChg chg="add del">
        <pc:chgData name="Connor Xu" userId="a2fa5610-7f85-41f8-9630-afc02cec4fa9" providerId="ADAL" clId="{EE18113F-3779-4A65-87D1-C584C28E733E}" dt="2024-09-02T06:07:34.210" v="2"/>
        <pc:sldMkLst>
          <pc:docMk/>
          <pc:sldMk cId="270764744" sldId="2147471363"/>
        </pc:sldMkLst>
      </pc:sldChg>
      <pc:sldChg chg="add del">
        <pc:chgData name="Connor Xu" userId="a2fa5610-7f85-41f8-9630-afc02cec4fa9" providerId="ADAL" clId="{EE18113F-3779-4A65-87D1-C584C28E733E}" dt="2024-09-02T06:27:46.713" v="263" actId="47"/>
        <pc:sldMkLst>
          <pc:docMk/>
          <pc:sldMk cId="1158413046" sldId="2147471365"/>
        </pc:sldMkLst>
      </pc:sldChg>
      <pc:sldChg chg="addSp add del modNotes">
        <pc:chgData name="Connor Xu" userId="a2fa5610-7f85-41f8-9630-afc02cec4fa9" providerId="ADAL" clId="{EE18113F-3779-4A65-87D1-C584C28E733E}" dt="2024-09-02T06:23:18.977" v="254" actId="47"/>
        <pc:sldMkLst>
          <pc:docMk/>
          <pc:sldMk cId="1525853113" sldId="2147471372"/>
        </pc:sldMkLst>
        <pc:picChg chg="add">
          <ac:chgData name="Connor Xu" userId="a2fa5610-7f85-41f8-9630-afc02cec4fa9" providerId="ADAL" clId="{EE18113F-3779-4A65-87D1-C584C28E733E}" dt="2024-09-02T06:10:55.973" v="44"/>
          <ac:picMkLst>
            <pc:docMk/>
            <pc:sldMk cId="1525853113" sldId="2147471372"/>
            <ac:picMk id="4" creationId="{6DDCA042-FF02-9A96-4F89-0663696A7DA1}"/>
          </ac:picMkLst>
        </pc:picChg>
      </pc:sldChg>
      <pc:sldChg chg="add del">
        <pc:chgData name="Connor Xu" userId="a2fa5610-7f85-41f8-9630-afc02cec4fa9" providerId="ADAL" clId="{EE18113F-3779-4A65-87D1-C584C28E733E}" dt="2024-09-02T06:07:34.210" v="2"/>
        <pc:sldMkLst>
          <pc:docMk/>
          <pc:sldMk cId="3301852112" sldId="2147471376"/>
        </pc:sldMkLst>
      </pc:sldChg>
      <pc:sldChg chg="add del">
        <pc:chgData name="Connor Xu" userId="a2fa5610-7f85-41f8-9630-afc02cec4fa9" providerId="ADAL" clId="{EE18113F-3779-4A65-87D1-C584C28E733E}" dt="2024-09-02T06:07:34.210" v="2"/>
        <pc:sldMkLst>
          <pc:docMk/>
          <pc:sldMk cId="3475717260" sldId="2147471377"/>
        </pc:sldMkLst>
      </pc:sldChg>
      <pc:sldChg chg="add del">
        <pc:chgData name="Connor Xu" userId="a2fa5610-7f85-41f8-9630-afc02cec4fa9" providerId="ADAL" clId="{EE18113F-3779-4A65-87D1-C584C28E733E}" dt="2024-09-02T06:23:22.169" v="255" actId="47"/>
        <pc:sldMkLst>
          <pc:docMk/>
          <pc:sldMk cId="4069698799" sldId="2147471378"/>
        </pc:sldMkLst>
      </pc:sldChg>
      <pc:sldChg chg="del">
        <pc:chgData name="Connor Xu" userId="a2fa5610-7f85-41f8-9630-afc02cec4fa9" providerId="ADAL" clId="{EE18113F-3779-4A65-87D1-C584C28E733E}" dt="2024-09-02T06:22:59.477" v="207" actId="47"/>
        <pc:sldMkLst>
          <pc:docMk/>
          <pc:sldMk cId="2399116334" sldId="2147471379"/>
        </pc:sldMkLst>
      </pc:sldChg>
      <pc:sldChg chg="del">
        <pc:chgData name="Connor Xu" userId="a2fa5610-7f85-41f8-9630-afc02cec4fa9" providerId="ADAL" clId="{EE18113F-3779-4A65-87D1-C584C28E733E}" dt="2024-09-02T06:22:59.257" v="200" actId="47"/>
        <pc:sldMkLst>
          <pc:docMk/>
          <pc:sldMk cId="2478982406" sldId="2147471381"/>
        </pc:sldMkLst>
      </pc:sldChg>
      <pc:sldChg chg="del">
        <pc:chgData name="Connor Xu" userId="a2fa5610-7f85-41f8-9630-afc02cec4fa9" providerId="ADAL" clId="{EE18113F-3779-4A65-87D1-C584C28E733E}" dt="2024-09-02T06:22:59.037" v="193" actId="47"/>
        <pc:sldMkLst>
          <pc:docMk/>
          <pc:sldMk cId="2192921596" sldId="2147471383"/>
        </pc:sldMkLst>
      </pc:sldChg>
      <pc:sldChg chg="del">
        <pc:chgData name="Connor Xu" userId="a2fa5610-7f85-41f8-9630-afc02cec4fa9" providerId="ADAL" clId="{EE18113F-3779-4A65-87D1-C584C28E733E}" dt="2024-09-02T06:22:58.819" v="186" actId="47"/>
        <pc:sldMkLst>
          <pc:docMk/>
          <pc:sldMk cId="1990164830" sldId="2147471385"/>
        </pc:sldMkLst>
      </pc:sldChg>
      <pc:sldChg chg="del">
        <pc:chgData name="Connor Xu" userId="a2fa5610-7f85-41f8-9630-afc02cec4fa9" providerId="ADAL" clId="{EE18113F-3779-4A65-87D1-C584C28E733E}" dt="2024-09-02T06:22:56.841" v="148" actId="47"/>
        <pc:sldMkLst>
          <pc:docMk/>
          <pc:sldMk cId="1992941528" sldId="2147471416"/>
        </pc:sldMkLst>
      </pc:sldChg>
      <pc:sldChg chg="del">
        <pc:chgData name="Connor Xu" userId="a2fa5610-7f85-41f8-9630-afc02cec4fa9" providerId="ADAL" clId="{EE18113F-3779-4A65-87D1-C584C28E733E}" dt="2024-09-02T06:22:57.778" v="177" actId="47"/>
        <pc:sldMkLst>
          <pc:docMk/>
          <pc:sldMk cId="2835252447" sldId="2147471466"/>
        </pc:sldMkLst>
      </pc:sldChg>
      <pc:sldChg chg="del">
        <pc:chgData name="Connor Xu" userId="a2fa5610-7f85-41f8-9630-afc02cec4fa9" providerId="ADAL" clId="{EE18113F-3779-4A65-87D1-C584C28E733E}" dt="2024-09-02T06:22:56.916" v="151" actId="47"/>
        <pc:sldMkLst>
          <pc:docMk/>
          <pc:sldMk cId="1581307264" sldId="2147471505"/>
        </pc:sldMkLst>
      </pc:sldChg>
      <pc:sldChg chg="del">
        <pc:chgData name="Connor Xu" userId="a2fa5610-7f85-41f8-9630-afc02cec4fa9" providerId="ADAL" clId="{EE18113F-3779-4A65-87D1-C584C28E733E}" dt="2024-09-02T06:22:57.432" v="166" actId="47"/>
        <pc:sldMkLst>
          <pc:docMk/>
          <pc:sldMk cId="3732230859" sldId="2147471506"/>
        </pc:sldMkLst>
      </pc:sldChg>
      <pc:sldChg chg="del">
        <pc:chgData name="Connor Xu" userId="a2fa5610-7f85-41f8-9630-afc02cec4fa9" providerId="ADAL" clId="{EE18113F-3779-4A65-87D1-C584C28E733E}" dt="2024-09-02T06:22:55.643" v="136" actId="47"/>
        <pc:sldMkLst>
          <pc:docMk/>
          <pc:sldMk cId="213221418" sldId="2147471508"/>
        </pc:sldMkLst>
      </pc:sldChg>
      <pc:sldChg chg="del">
        <pc:chgData name="Connor Xu" userId="a2fa5610-7f85-41f8-9630-afc02cec4fa9" providerId="ADAL" clId="{EE18113F-3779-4A65-87D1-C584C28E733E}" dt="2024-09-02T06:23:00.762" v="221" actId="47"/>
        <pc:sldMkLst>
          <pc:docMk/>
          <pc:sldMk cId="2590382919" sldId="2147471510"/>
        </pc:sldMkLst>
      </pc:sldChg>
      <pc:sldChg chg="del">
        <pc:chgData name="Connor Xu" userId="a2fa5610-7f85-41f8-9630-afc02cec4fa9" providerId="ADAL" clId="{EE18113F-3779-4A65-87D1-C584C28E733E}" dt="2024-09-02T06:22:57.549" v="170" actId="47"/>
        <pc:sldMkLst>
          <pc:docMk/>
          <pc:sldMk cId="1525720501" sldId="2147471516"/>
        </pc:sldMkLst>
      </pc:sldChg>
      <pc:sldChg chg="del">
        <pc:chgData name="Connor Xu" userId="a2fa5610-7f85-41f8-9630-afc02cec4fa9" providerId="ADAL" clId="{EE18113F-3779-4A65-87D1-C584C28E733E}" dt="2024-09-02T06:23:00.643" v="217" actId="47"/>
        <pc:sldMkLst>
          <pc:docMk/>
          <pc:sldMk cId="3726805784" sldId="2147471526"/>
        </pc:sldMkLst>
      </pc:sldChg>
      <pc:sldChg chg="del">
        <pc:chgData name="Connor Xu" userId="a2fa5610-7f85-41f8-9630-afc02cec4fa9" providerId="ADAL" clId="{EE18113F-3779-4A65-87D1-C584C28E733E}" dt="2024-09-02T06:22:57.498" v="168" actId="47"/>
        <pc:sldMkLst>
          <pc:docMk/>
          <pc:sldMk cId="844563747" sldId="2147471529"/>
        </pc:sldMkLst>
      </pc:sldChg>
      <pc:sldChg chg="del">
        <pc:chgData name="Connor Xu" userId="a2fa5610-7f85-41f8-9630-afc02cec4fa9" providerId="ADAL" clId="{EE18113F-3779-4A65-87D1-C584C28E733E}" dt="2024-09-02T06:22:58.844" v="187" actId="47"/>
        <pc:sldMkLst>
          <pc:docMk/>
          <pc:sldMk cId="1704200544" sldId="2147471540"/>
        </pc:sldMkLst>
      </pc:sldChg>
      <pc:sldChg chg="del">
        <pc:chgData name="Connor Xu" userId="a2fa5610-7f85-41f8-9630-afc02cec4fa9" providerId="ADAL" clId="{EE18113F-3779-4A65-87D1-C584C28E733E}" dt="2024-09-02T06:22:59.505" v="208" actId="47"/>
        <pc:sldMkLst>
          <pc:docMk/>
          <pc:sldMk cId="3096354983" sldId="2147471542"/>
        </pc:sldMkLst>
      </pc:sldChg>
      <pc:sldChg chg="del">
        <pc:chgData name="Connor Xu" userId="a2fa5610-7f85-41f8-9630-afc02cec4fa9" providerId="ADAL" clId="{EE18113F-3779-4A65-87D1-C584C28E733E}" dt="2024-09-02T06:23:01.293" v="225" actId="47"/>
        <pc:sldMkLst>
          <pc:docMk/>
          <pc:sldMk cId="3191616871" sldId="2147471551"/>
        </pc:sldMkLst>
      </pc:sldChg>
      <pc:sldChg chg="del">
        <pc:chgData name="Connor Xu" userId="a2fa5610-7f85-41f8-9630-afc02cec4fa9" providerId="ADAL" clId="{EE18113F-3779-4A65-87D1-C584C28E733E}" dt="2024-09-02T06:22:57.530" v="169" actId="47"/>
        <pc:sldMkLst>
          <pc:docMk/>
          <pc:sldMk cId="722364161" sldId="2147471554"/>
        </pc:sldMkLst>
      </pc:sldChg>
      <pc:sldChg chg="del">
        <pc:chgData name="Connor Xu" userId="a2fa5610-7f85-41f8-9630-afc02cec4fa9" providerId="ADAL" clId="{EE18113F-3779-4A65-87D1-C584C28E733E}" dt="2024-09-02T06:22:56.891" v="150" actId="47"/>
        <pc:sldMkLst>
          <pc:docMk/>
          <pc:sldMk cId="2946389797" sldId="2147471563"/>
        </pc:sldMkLst>
      </pc:sldChg>
      <pc:sldChg chg="del">
        <pc:chgData name="Connor Xu" userId="a2fa5610-7f85-41f8-9630-afc02cec4fa9" providerId="ADAL" clId="{EE18113F-3779-4A65-87D1-C584C28E733E}" dt="2024-09-02T06:22:56.794" v="147" actId="47"/>
        <pc:sldMkLst>
          <pc:docMk/>
          <pc:sldMk cId="2389721078" sldId="2147471565"/>
        </pc:sldMkLst>
      </pc:sldChg>
      <pc:sldChg chg="del">
        <pc:chgData name="Connor Xu" userId="a2fa5610-7f85-41f8-9630-afc02cec4fa9" providerId="ADAL" clId="{EE18113F-3779-4A65-87D1-C584C28E733E}" dt="2024-09-02T06:22:55.195" v="135" actId="47"/>
        <pc:sldMkLst>
          <pc:docMk/>
          <pc:sldMk cId="3261567875" sldId="2147471566"/>
        </pc:sldMkLst>
      </pc:sldChg>
      <pc:sldChg chg="del">
        <pc:chgData name="Connor Xu" userId="a2fa5610-7f85-41f8-9630-afc02cec4fa9" providerId="ADAL" clId="{EE18113F-3779-4A65-87D1-C584C28E733E}" dt="2024-09-02T06:22:56.017" v="141" actId="47"/>
        <pc:sldMkLst>
          <pc:docMk/>
          <pc:sldMk cId="2019842779" sldId="2147471567"/>
        </pc:sldMkLst>
      </pc:sldChg>
      <pc:sldChg chg="del">
        <pc:chgData name="Connor Xu" userId="a2fa5610-7f85-41f8-9630-afc02cec4fa9" providerId="ADAL" clId="{EE18113F-3779-4A65-87D1-C584C28E733E}" dt="2024-09-02T06:22:56.162" v="142" actId="47"/>
        <pc:sldMkLst>
          <pc:docMk/>
          <pc:sldMk cId="3732255707" sldId="2147471571"/>
        </pc:sldMkLst>
      </pc:sldChg>
      <pc:sldChg chg="del">
        <pc:chgData name="Connor Xu" userId="a2fa5610-7f85-41f8-9630-afc02cec4fa9" providerId="ADAL" clId="{EE18113F-3779-4A65-87D1-C584C28E733E}" dt="2024-09-02T06:22:56.769" v="146" actId="47"/>
        <pc:sldMkLst>
          <pc:docMk/>
          <pc:sldMk cId="52193789" sldId="2147471572"/>
        </pc:sldMkLst>
      </pc:sldChg>
      <pc:sldChg chg="del">
        <pc:chgData name="Connor Xu" userId="a2fa5610-7f85-41f8-9630-afc02cec4fa9" providerId="ADAL" clId="{EE18113F-3779-4A65-87D1-C584C28E733E}" dt="2024-09-02T06:22:55.688" v="138" actId="47"/>
        <pc:sldMkLst>
          <pc:docMk/>
          <pc:sldMk cId="3819060953" sldId="2147471573"/>
        </pc:sldMkLst>
      </pc:sldChg>
      <pc:sldChg chg="del">
        <pc:chgData name="Connor Xu" userId="a2fa5610-7f85-41f8-9630-afc02cec4fa9" providerId="ADAL" clId="{EE18113F-3779-4A65-87D1-C584C28E733E}" dt="2024-09-02T06:22:55.667" v="137" actId="47"/>
        <pc:sldMkLst>
          <pc:docMk/>
          <pc:sldMk cId="495041050" sldId="2147471574"/>
        </pc:sldMkLst>
      </pc:sldChg>
      <pc:sldChg chg="del">
        <pc:chgData name="Connor Xu" userId="a2fa5610-7f85-41f8-9630-afc02cec4fa9" providerId="ADAL" clId="{EE18113F-3779-4A65-87D1-C584C28E733E}" dt="2024-09-02T06:22:56.867" v="149" actId="47"/>
        <pc:sldMkLst>
          <pc:docMk/>
          <pc:sldMk cId="3933963994" sldId="2147471578"/>
        </pc:sldMkLst>
      </pc:sldChg>
      <pc:sldChg chg="del">
        <pc:chgData name="Connor Xu" userId="a2fa5610-7f85-41f8-9630-afc02cec4fa9" providerId="ADAL" clId="{EE18113F-3779-4A65-87D1-C584C28E733E}" dt="2024-09-02T06:22:57.012" v="153" actId="47"/>
        <pc:sldMkLst>
          <pc:docMk/>
          <pc:sldMk cId="2454108412" sldId="2147471584"/>
        </pc:sldMkLst>
      </pc:sldChg>
      <pc:sldChg chg="del">
        <pc:chgData name="Connor Xu" userId="a2fa5610-7f85-41f8-9630-afc02cec4fa9" providerId="ADAL" clId="{EE18113F-3779-4A65-87D1-C584C28E733E}" dt="2024-09-02T06:22:57.390" v="165" actId="47"/>
        <pc:sldMkLst>
          <pc:docMk/>
          <pc:sldMk cId="2873387960" sldId="2147471586"/>
        </pc:sldMkLst>
      </pc:sldChg>
      <pc:sldChg chg="del">
        <pc:chgData name="Connor Xu" userId="a2fa5610-7f85-41f8-9630-afc02cec4fa9" providerId="ADAL" clId="{EE18113F-3779-4A65-87D1-C584C28E733E}" dt="2024-09-02T06:22:57.356" v="164" actId="47"/>
        <pc:sldMkLst>
          <pc:docMk/>
          <pc:sldMk cId="2264159868" sldId="2147471588"/>
        </pc:sldMkLst>
      </pc:sldChg>
      <pc:sldChg chg="del">
        <pc:chgData name="Connor Xu" userId="a2fa5610-7f85-41f8-9630-afc02cec4fa9" providerId="ADAL" clId="{EE18113F-3779-4A65-87D1-C584C28E733E}" dt="2024-09-02T06:22:57.325" v="163" actId="47"/>
        <pc:sldMkLst>
          <pc:docMk/>
          <pc:sldMk cId="1309646545" sldId="2147471589"/>
        </pc:sldMkLst>
      </pc:sldChg>
      <pc:sldChg chg="del">
        <pc:chgData name="Connor Xu" userId="a2fa5610-7f85-41f8-9630-afc02cec4fa9" providerId="ADAL" clId="{EE18113F-3779-4A65-87D1-C584C28E733E}" dt="2024-09-02T06:22:57.184" v="158" actId="47"/>
        <pc:sldMkLst>
          <pc:docMk/>
          <pc:sldMk cId="806101404" sldId="2147471590"/>
        </pc:sldMkLst>
      </pc:sldChg>
      <pc:sldChg chg="del">
        <pc:chgData name="Connor Xu" userId="a2fa5610-7f85-41f8-9630-afc02cec4fa9" providerId="ADAL" clId="{EE18113F-3779-4A65-87D1-C584C28E733E}" dt="2024-09-02T06:22:57.269" v="161" actId="47"/>
        <pc:sldMkLst>
          <pc:docMk/>
          <pc:sldMk cId="820237444" sldId="2147471591"/>
        </pc:sldMkLst>
      </pc:sldChg>
      <pc:sldChg chg="del">
        <pc:chgData name="Connor Xu" userId="a2fa5610-7f85-41f8-9630-afc02cec4fa9" providerId="ADAL" clId="{EE18113F-3779-4A65-87D1-C584C28E733E}" dt="2024-09-02T06:22:57.299" v="162" actId="47"/>
        <pc:sldMkLst>
          <pc:docMk/>
          <pc:sldMk cId="3433516797" sldId="2147471592"/>
        </pc:sldMkLst>
      </pc:sldChg>
      <pc:sldChg chg="del">
        <pc:chgData name="Connor Xu" userId="a2fa5610-7f85-41f8-9630-afc02cec4fa9" providerId="ADAL" clId="{EE18113F-3779-4A65-87D1-C584C28E733E}" dt="2024-09-02T06:22:57.155" v="157" actId="47"/>
        <pc:sldMkLst>
          <pc:docMk/>
          <pc:sldMk cId="1859614179" sldId="2147471593"/>
        </pc:sldMkLst>
      </pc:sldChg>
      <pc:sldChg chg="del">
        <pc:chgData name="Connor Xu" userId="a2fa5610-7f85-41f8-9630-afc02cec4fa9" providerId="ADAL" clId="{EE18113F-3779-4A65-87D1-C584C28E733E}" dt="2024-09-02T06:22:57.126" v="156" actId="47"/>
        <pc:sldMkLst>
          <pc:docMk/>
          <pc:sldMk cId="505182861" sldId="2147471594"/>
        </pc:sldMkLst>
      </pc:sldChg>
      <pc:sldChg chg="add del">
        <pc:chgData name="Connor Xu" userId="a2fa5610-7f85-41f8-9630-afc02cec4fa9" providerId="ADAL" clId="{EE18113F-3779-4A65-87D1-C584C28E733E}" dt="2024-09-02T06:24:55.739" v="257"/>
        <pc:sldMkLst>
          <pc:docMk/>
          <pc:sldMk cId="4208571328" sldId="2147471596"/>
        </pc:sldMkLst>
      </pc:sldChg>
      <pc:sldChg chg="del">
        <pc:chgData name="Connor Xu" userId="a2fa5610-7f85-41f8-9630-afc02cec4fa9" providerId="ADAL" clId="{EE18113F-3779-4A65-87D1-C584C28E733E}" dt="2024-09-02T06:22:57.209" v="159" actId="47"/>
        <pc:sldMkLst>
          <pc:docMk/>
          <pc:sldMk cId="4097914163" sldId="2147471598"/>
        </pc:sldMkLst>
      </pc:sldChg>
      <pc:sldChg chg="del">
        <pc:chgData name="Connor Xu" userId="a2fa5610-7f85-41f8-9630-afc02cec4fa9" providerId="ADAL" clId="{EE18113F-3779-4A65-87D1-C584C28E733E}" dt="2024-09-02T06:22:57.088" v="155" actId="47"/>
        <pc:sldMkLst>
          <pc:docMk/>
          <pc:sldMk cId="3971867607" sldId="2147471599"/>
        </pc:sldMkLst>
      </pc:sldChg>
      <pc:sldChg chg="del">
        <pc:chgData name="Connor Xu" userId="a2fa5610-7f85-41f8-9630-afc02cec4fa9" providerId="ADAL" clId="{EE18113F-3779-4A65-87D1-C584C28E733E}" dt="2024-09-02T06:22:57.049" v="154" actId="47"/>
        <pc:sldMkLst>
          <pc:docMk/>
          <pc:sldMk cId="2335858992" sldId="2147471600"/>
        </pc:sldMkLst>
      </pc:sldChg>
      <pc:sldChg chg="modSp mod">
        <pc:chgData name="Connor Xu" userId="a2fa5610-7f85-41f8-9630-afc02cec4fa9" providerId="ADAL" clId="{EE18113F-3779-4A65-87D1-C584C28E733E}" dt="2024-09-02T06:11:54.716" v="84" actId="20577"/>
        <pc:sldMkLst>
          <pc:docMk/>
          <pc:sldMk cId="2083619045" sldId="2147471602"/>
        </pc:sldMkLst>
        <pc:spChg chg="mod">
          <ac:chgData name="Connor Xu" userId="a2fa5610-7f85-41f8-9630-afc02cec4fa9" providerId="ADAL" clId="{EE18113F-3779-4A65-87D1-C584C28E733E}" dt="2024-09-02T06:11:54.716" v="84" actId="20577"/>
          <ac:spMkLst>
            <pc:docMk/>
            <pc:sldMk cId="2083619045" sldId="2147471602"/>
            <ac:spMk id="4" creationId="{74695963-93D3-CEED-3211-EA22860FE331}"/>
          </ac:spMkLst>
        </pc:spChg>
      </pc:sldChg>
      <pc:sldChg chg="del">
        <pc:chgData name="Connor Xu" userId="a2fa5610-7f85-41f8-9630-afc02cec4fa9" providerId="ADAL" clId="{EE18113F-3779-4A65-87D1-C584C28E733E}" dt="2024-09-02T06:23:03.783" v="246" actId="47"/>
        <pc:sldMkLst>
          <pc:docMk/>
          <pc:sldMk cId="1702971962" sldId="2147471603"/>
        </pc:sldMkLst>
      </pc:sldChg>
      <pc:sldChg chg="del">
        <pc:chgData name="Connor Xu" userId="a2fa5610-7f85-41f8-9630-afc02cec4fa9" providerId="ADAL" clId="{EE18113F-3779-4A65-87D1-C584C28E733E}" dt="2024-09-02T06:23:03.181" v="241" actId="47"/>
        <pc:sldMkLst>
          <pc:docMk/>
          <pc:sldMk cId="678840449" sldId="2147471609"/>
        </pc:sldMkLst>
      </pc:sldChg>
      <pc:sldChg chg="del">
        <pc:chgData name="Connor Xu" userId="a2fa5610-7f85-41f8-9630-afc02cec4fa9" providerId="ADAL" clId="{EE18113F-3779-4A65-87D1-C584C28E733E}" dt="2024-09-02T06:22:57.454" v="167" actId="47"/>
        <pc:sldMkLst>
          <pc:docMk/>
          <pc:sldMk cId="3418905580" sldId="2147471614"/>
        </pc:sldMkLst>
      </pc:sldChg>
      <pc:sldChg chg="add del">
        <pc:chgData name="Connor Xu" userId="a2fa5610-7f85-41f8-9630-afc02cec4fa9" providerId="ADAL" clId="{EE18113F-3779-4A65-87D1-C584C28E733E}" dt="2024-09-02T06:26:38.129" v="260"/>
        <pc:sldMkLst>
          <pc:docMk/>
          <pc:sldMk cId="2973198158" sldId="2147471621"/>
        </pc:sldMkLst>
      </pc:sldChg>
      <pc:sldChg chg="del">
        <pc:chgData name="Connor Xu" userId="a2fa5610-7f85-41f8-9630-afc02cec4fa9" providerId="ADAL" clId="{EE18113F-3779-4A65-87D1-C584C28E733E}" dt="2024-09-02T06:23:02.392" v="238" actId="47"/>
        <pc:sldMkLst>
          <pc:docMk/>
          <pc:sldMk cId="1284542380" sldId="2147471622"/>
        </pc:sldMkLst>
      </pc:sldChg>
      <pc:sldChg chg="del">
        <pc:chgData name="Connor Xu" userId="a2fa5610-7f85-41f8-9630-afc02cec4fa9" providerId="ADAL" clId="{EE18113F-3779-4A65-87D1-C584C28E733E}" dt="2024-09-02T06:23:01.521" v="233" actId="47"/>
        <pc:sldMkLst>
          <pc:docMk/>
          <pc:sldMk cId="2577352464" sldId="2147471627"/>
        </pc:sldMkLst>
      </pc:sldChg>
      <pc:sldChg chg="del">
        <pc:chgData name="Connor Xu" userId="a2fa5610-7f85-41f8-9630-afc02cec4fa9" providerId="ADAL" clId="{EE18113F-3779-4A65-87D1-C584C28E733E}" dt="2024-09-02T06:23:00.884" v="224" actId="47"/>
        <pc:sldMkLst>
          <pc:docMk/>
          <pc:sldMk cId="1900140867" sldId="2147471633"/>
        </pc:sldMkLst>
      </pc:sldChg>
      <pc:sldChg chg="del">
        <pc:chgData name="Connor Xu" userId="a2fa5610-7f85-41f8-9630-afc02cec4fa9" providerId="ADAL" clId="{EE18113F-3779-4A65-87D1-C584C28E733E}" dt="2024-09-02T06:23:00.822" v="223" actId="47"/>
        <pc:sldMkLst>
          <pc:docMk/>
          <pc:sldMk cId="2259921476" sldId="2147471634"/>
        </pc:sldMkLst>
      </pc:sldChg>
      <pc:sldChg chg="add del">
        <pc:chgData name="Connor Xu" userId="a2fa5610-7f85-41f8-9630-afc02cec4fa9" providerId="ADAL" clId="{EE18113F-3779-4A65-87D1-C584C28E733E}" dt="2024-09-02T06:26:36.478" v="259" actId="47"/>
        <pc:sldMkLst>
          <pc:docMk/>
          <pc:sldMk cId="4070250027" sldId="2147471635"/>
        </pc:sldMkLst>
      </pc:sldChg>
      <pc:sldChg chg="del">
        <pc:chgData name="Connor Xu" userId="a2fa5610-7f85-41f8-9630-afc02cec4fa9" providerId="ADAL" clId="{EE18113F-3779-4A65-87D1-C584C28E733E}" dt="2024-09-02T06:23:00.672" v="218" actId="47"/>
        <pc:sldMkLst>
          <pc:docMk/>
          <pc:sldMk cId="1773920152" sldId="2147471639"/>
        </pc:sldMkLst>
      </pc:sldChg>
      <pc:sldChg chg="del">
        <pc:chgData name="Connor Xu" userId="a2fa5610-7f85-41f8-9630-afc02cec4fa9" providerId="ADAL" clId="{EE18113F-3779-4A65-87D1-C584C28E733E}" dt="2024-09-02T06:23:00.616" v="216" actId="47"/>
        <pc:sldMkLst>
          <pc:docMk/>
          <pc:sldMk cId="573027377" sldId="2147471641"/>
        </pc:sldMkLst>
      </pc:sldChg>
      <pc:sldChg chg="del">
        <pc:chgData name="Connor Xu" userId="a2fa5610-7f85-41f8-9630-afc02cec4fa9" providerId="ADAL" clId="{EE18113F-3779-4A65-87D1-C584C28E733E}" dt="2024-09-02T06:23:03.368" v="245" actId="47"/>
        <pc:sldMkLst>
          <pc:docMk/>
          <pc:sldMk cId="988389258" sldId="2147471642"/>
        </pc:sldMkLst>
      </pc:sldChg>
      <pc:sldChg chg="del">
        <pc:chgData name="Connor Xu" userId="a2fa5610-7f85-41f8-9630-afc02cec4fa9" providerId="ADAL" clId="{EE18113F-3779-4A65-87D1-C584C28E733E}" dt="2024-09-02T06:22:59.628" v="211" actId="47"/>
        <pc:sldMkLst>
          <pc:docMk/>
          <pc:sldMk cId="2662242185" sldId="2147471643"/>
        </pc:sldMkLst>
      </pc:sldChg>
      <pc:sldChg chg="del">
        <pc:chgData name="Connor Xu" userId="a2fa5610-7f85-41f8-9630-afc02cec4fa9" providerId="ADAL" clId="{EE18113F-3779-4A65-87D1-C584C28E733E}" dt="2024-09-02T06:23:00.598" v="215" actId="47"/>
        <pc:sldMkLst>
          <pc:docMk/>
          <pc:sldMk cId="2648665534" sldId="2147471644"/>
        </pc:sldMkLst>
      </pc:sldChg>
      <pc:sldChg chg="del">
        <pc:chgData name="Connor Xu" userId="a2fa5610-7f85-41f8-9630-afc02cec4fa9" providerId="ADAL" clId="{EE18113F-3779-4A65-87D1-C584C28E733E}" dt="2024-09-02T06:23:02.266" v="237" actId="47"/>
        <pc:sldMkLst>
          <pc:docMk/>
          <pc:sldMk cId="232804461" sldId="2147471645"/>
        </pc:sldMkLst>
      </pc:sldChg>
      <pc:sldChg chg="del">
        <pc:chgData name="Connor Xu" userId="a2fa5610-7f85-41f8-9630-afc02cec4fa9" providerId="ADAL" clId="{EE18113F-3779-4A65-87D1-C584C28E733E}" dt="2024-09-02T06:23:02.148" v="236" actId="47"/>
        <pc:sldMkLst>
          <pc:docMk/>
          <pc:sldMk cId="2368218091" sldId="2147471646"/>
        </pc:sldMkLst>
      </pc:sldChg>
      <pc:sldChg chg="del">
        <pc:chgData name="Connor Xu" userId="a2fa5610-7f85-41f8-9630-afc02cec4fa9" providerId="ADAL" clId="{EE18113F-3779-4A65-87D1-C584C28E733E}" dt="2024-09-02T06:23:03.270" v="244" actId="47"/>
        <pc:sldMkLst>
          <pc:docMk/>
          <pc:sldMk cId="977439688" sldId="2147471647"/>
        </pc:sldMkLst>
      </pc:sldChg>
      <pc:sldChg chg="add del">
        <pc:chgData name="Connor Xu" userId="a2fa5610-7f85-41f8-9630-afc02cec4fa9" providerId="ADAL" clId="{EE18113F-3779-4A65-87D1-C584C28E733E}" dt="2024-09-02T06:23:12.686" v="253"/>
        <pc:sldMkLst>
          <pc:docMk/>
          <pc:sldMk cId="2887098628" sldId="2147471648"/>
        </pc:sldMkLst>
      </pc:sldChg>
      <pc:sldChg chg="del">
        <pc:chgData name="Connor Xu" userId="a2fa5610-7f85-41f8-9630-afc02cec4fa9" providerId="ADAL" clId="{EE18113F-3779-4A65-87D1-C584C28E733E}" dt="2024-09-02T06:23:03.209" v="242" actId="47"/>
        <pc:sldMkLst>
          <pc:docMk/>
          <pc:sldMk cId="1673498922" sldId="2147471649"/>
        </pc:sldMkLst>
      </pc:sldChg>
      <pc:sldChg chg="add del">
        <pc:chgData name="Connor Xu" userId="a2fa5610-7f85-41f8-9630-afc02cec4fa9" providerId="ADAL" clId="{EE18113F-3779-4A65-87D1-C584C28E733E}" dt="2024-09-02T06:27:24.695" v="261"/>
        <pc:sldMkLst>
          <pc:docMk/>
          <pc:sldMk cId="1234428817" sldId="2147471653"/>
        </pc:sldMkLst>
      </pc:sldChg>
      <pc:sldChg chg="del">
        <pc:chgData name="Connor Xu" userId="a2fa5610-7f85-41f8-9630-afc02cec4fa9" providerId="ADAL" clId="{EE18113F-3779-4A65-87D1-C584C28E733E}" dt="2024-09-02T06:22:57.738" v="176" actId="47"/>
        <pc:sldMkLst>
          <pc:docMk/>
          <pc:sldMk cId="451160484" sldId="2147471654"/>
        </pc:sldMkLst>
      </pc:sldChg>
      <pc:sldChg chg="del">
        <pc:chgData name="Connor Xu" userId="a2fa5610-7f85-41f8-9630-afc02cec4fa9" providerId="ADAL" clId="{EE18113F-3779-4A65-87D1-C584C28E733E}" dt="2024-09-02T06:23:02.016" v="235" actId="47"/>
        <pc:sldMkLst>
          <pc:docMk/>
          <pc:sldMk cId="861167672" sldId="2147471655"/>
        </pc:sldMkLst>
      </pc:sldChg>
      <pc:sldChg chg="add del">
        <pc:chgData name="Connor Xu" userId="a2fa5610-7f85-41f8-9630-afc02cec4fa9" providerId="ADAL" clId="{EE18113F-3779-4A65-87D1-C584C28E733E}" dt="2024-09-02T06:24:37.828" v="256"/>
        <pc:sldMkLst>
          <pc:docMk/>
          <pc:sldMk cId="3274022134" sldId="2147471656"/>
        </pc:sldMkLst>
      </pc:sldChg>
      <pc:sldChg chg="del">
        <pc:chgData name="Connor Xu" userId="a2fa5610-7f85-41f8-9630-afc02cec4fa9" providerId="ADAL" clId="{EE18113F-3779-4A65-87D1-C584C28E733E}" dt="2024-09-02T06:23:00.723" v="220" actId="47"/>
        <pc:sldMkLst>
          <pc:docMk/>
          <pc:sldMk cId="801766341" sldId="2147471657"/>
        </pc:sldMkLst>
      </pc:sldChg>
      <pc:sldChg chg="del">
        <pc:chgData name="Connor Xu" userId="a2fa5610-7f85-41f8-9630-afc02cec4fa9" providerId="ADAL" clId="{EE18113F-3779-4A65-87D1-C584C28E733E}" dt="2024-09-02T06:23:00.707" v="219" actId="47"/>
        <pc:sldMkLst>
          <pc:docMk/>
          <pc:sldMk cId="2696922410" sldId="2147471658"/>
        </pc:sldMkLst>
      </pc:sldChg>
      <pc:sldChg chg="del">
        <pc:chgData name="Connor Xu" userId="a2fa5610-7f85-41f8-9630-afc02cec4fa9" providerId="ADAL" clId="{EE18113F-3779-4A65-87D1-C584C28E733E}" dt="2024-09-02T06:22:59.285" v="201" actId="47"/>
        <pc:sldMkLst>
          <pc:docMk/>
          <pc:sldMk cId="169381353" sldId="2147471659"/>
        </pc:sldMkLst>
      </pc:sldChg>
      <pc:sldChg chg="del">
        <pc:chgData name="Connor Xu" userId="a2fa5610-7f85-41f8-9630-afc02cec4fa9" providerId="ADAL" clId="{EE18113F-3779-4A65-87D1-C584C28E733E}" dt="2024-09-02T06:22:59.069" v="194" actId="47"/>
        <pc:sldMkLst>
          <pc:docMk/>
          <pc:sldMk cId="607860495" sldId="2147471660"/>
        </pc:sldMkLst>
      </pc:sldChg>
      <pc:sldChg chg="del">
        <pc:chgData name="Connor Xu" userId="a2fa5610-7f85-41f8-9630-afc02cec4fa9" providerId="ADAL" clId="{EE18113F-3779-4A65-87D1-C584C28E733E}" dt="2024-09-02T06:22:57.849" v="179" actId="47"/>
        <pc:sldMkLst>
          <pc:docMk/>
          <pc:sldMk cId="3293772026" sldId="2147471661"/>
        </pc:sldMkLst>
      </pc:sldChg>
      <pc:sldChg chg="del">
        <pc:chgData name="Connor Xu" userId="a2fa5610-7f85-41f8-9630-afc02cec4fa9" providerId="ADAL" clId="{EE18113F-3779-4A65-87D1-C584C28E733E}" dt="2024-09-02T06:23:01.493" v="232" actId="47"/>
        <pc:sldMkLst>
          <pc:docMk/>
          <pc:sldMk cId="3717749617" sldId="2147471662"/>
        </pc:sldMkLst>
      </pc:sldChg>
      <pc:sldChg chg="del">
        <pc:chgData name="Connor Xu" userId="a2fa5610-7f85-41f8-9630-afc02cec4fa9" providerId="ADAL" clId="{EE18113F-3779-4A65-87D1-C584C28E733E}" dt="2024-09-02T06:23:01.430" v="230" actId="47"/>
        <pc:sldMkLst>
          <pc:docMk/>
          <pc:sldMk cId="1695633560" sldId="2147471663"/>
        </pc:sldMkLst>
      </pc:sldChg>
      <pc:sldChg chg="del">
        <pc:chgData name="Connor Xu" userId="a2fa5610-7f85-41f8-9630-afc02cec4fa9" providerId="ADAL" clId="{EE18113F-3779-4A65-87D1-C584C28E733E}" dt="2024-09-02T06:23:01.408" v="229" actId="47"/>
        <pc:sldMkLst>
          <pc:docMk/>
          <pc:sldMk cId="2803719802" sldId="2147471664"/>
        </pc:sldMkLst>
      </pc:sldChg>
      <pc:sldChg chg="del">
        <pc:chgData name="Connor Xu" userId="a2fa5610-7f85-41f8-9630-afc02cec4fa9" providerId="ADAL" clId="{EE18113F-3779-4A65-87D1-C584C28E733E}" dt="2024-09-02T06:23:01.361" v="228" actId="47"/>
        <pc:sldMkLst>
          <pc:docMk/>
          <pc:sldMk cId="782303698" sldId="2147471665"/>
        </pc:sldMkLst>
      </pc:sldChg>
      <pc:sldChg chg="del">
        <pc:chgData name="Connor Xu" userId="a2fa5610-7f85-41f8-9630-afc02cec4fa9" providerId="ADAL" clId="{EE18113F-3779-4A65-87D1-C584C28E733E}" dt="2024-09-02T06:23:01.340" v="227" actId="47"/>
        <pc:sldMkLst>
          <pc:docMk/>
          <pc:sldMk cId="1549991173" sldId="2147471666"/>
        </pc:sldMkLst>
      </pc:sldChg>
      <pc:sldChg chg="del">
        <pc:chgData name="Connor Xu" userId="a2fa5610-7f85-41f8-9630-afc02cec4fa9" providerId="ADAL" clId="{EE18113F-3779-4A65-87D1-C584C28E733E}" dt="2024-09-02T06:23:01.315" v="226" actId="47"/>
        <pc:sldMkLst>
          <pc:docMk/>
          <pc:sldMk cId="3607155003" sldId="2147471667"/>
        </pc:sldMkLst>
      </pc:sldChg>
      <pc:sldChg chg="del">
        <pc:chgData name="Connor Xu" userId="a2fa5610-7f85-41f8-9630-afc02cec4fa9" providerId="ADAL" clId="{EE18113F-3779-4A65-87D1-C584C28E733E}" dt="2024-09-02T06:23:01.450" v="231" actId="47"/>
        <pc:sldMkLst>
          <pc:docMk/>
          <pc:sldMk cId="1717147813" sldId="2147471668"/>
        </pc:sldMkLst>
      </pc:sldChg>
      <pc:sldChg chg="del">
        <pc:chgData name="Connor Xu" userId="a2fa5610-7f85-41f8-9630-afc02cec4fa9" providerId="ADAL" clId="{EE18113F-3779-4A65-87D1-C584C28E733E}" dt="2024-09-02T06:23:00.568" v="214" actId="47"/>
        <pc:sldMkLst>
          <pc:docMk/>
          <pc:sldMk cId="3454642778" sldId="2147471669"/>
        </pc:sldMkLst>
      </pc:sldChg>
      <pc:sldChg chg="del">
        <pc:chgData name="Connor Xu" userId="a2fa5610-7f85-41f8-9630-afc02cec4fa9" providerId="ADAL" clId="{EE18113F-3779-4A65-87D1-C584C28E733E}" dt="2024-09-02T06:22:59.939" v="213" actId="47"/>
        <pc:sldMkLst>
          <pc:docMk/>
          <pc:sldMk cId="1150638039" sldId="2147471670"/>
        </pc:sldMkLst>
      </pc:sldChg>
      <pc:sldChg chg="del">
        <pc:chgData name="Connor Xu" userId="a2fa5610-7f85-41f8-9630-afc02cec4fa9" providerId="ADAL" clId="{EE18113F-3779-4A65-87D1-C584C28E733E}" dt="2024-09-02T06:22:59.651" v="212" actId="47"/>
        <pc:sldMkLst>
          <pc:docMk/>
          <pc:sldMk cId="504199463" sldId="2147471671"/>
        </pc:sldMkLst>
      </pc:sldChg>
      <pc:sldChg chg="del">
        <pc:chgData name="Connor Xu" userId="a2fa5610-7f85-41f8-9630-afc02cec4fa9" providerId="ADAL" clId="{EE18113F-3779-4A65-87D1-C584C28E733E}" dt="2024-09-02T06:22:59.603" v="210" actId="47"/>
        <pc:sldMkLst>
          <pc:docMk/>
          <pc:sldMk cId="1045485904" sldId="2147471672"/>
        </pc:sldMkLst>
      </pc:sldChg>
      <pc:sldChg chg="del">
        <pc:chgData name="Connor Xu" userId="a2fa5610-7f85-41f8-9630-afc02cec4fa9" providerId="ADAL" clId="{EE18113F-3779-4A65-87D1-C584C28E733E}" dt="2024-09-02T06:22:59.531" v="209" actId="47"/>
        <pc:sldMkLst>
          <pc:docMk/>
          <pc:sldMk cId="2007700489" sldId="2147471673"/>
        </pc:sldMkLst>
      </pc:sldChg>
      <pc:sldChg chg="del">
        <pc:chgData name="Connor Xu" userId="a2fa5610-7f85-41f8-9630-afc02cec4fa9" providerId="ADAL" clId="{EE18113F-3779-4A65-87D1-C584C28E733E}" dt="2024-09-02T06:22:59.439" v="206" actId="47"/>
        <pc:sldMkLst>
          <pc:docMk/>
          <pc:sldMk cId="3999141443" sldId="2147471674"/>
        </pc:sldMkLst>
      </pc:sldChg>
      <pc:sldChg chg="del">
        <pc:chgData name="Connor Xu" userId="a2fa5610-7f85-41f8-9630-afc02cec4fa9" providerId="ADAL" clId="{EE18113F-3779-4A65-87D1-C584C28E733E}" dt="2024-09-02T06:22:59.410" v="205" actId="47"/>
        <pc:sldMkLst>
          <pc:docMk/>
          <pc:sldMk cId="2235059398" sldId="2147471675"/>
        </pc:sldMkLst>
      </pc:sldChg>
      <pc:sldChg chg="del">
        <pc:chgData name="Connor Xu" userId="a2fa5610-7f85-41f8-9630-afc02cec4fa9" providerId="ADAL" clId="{EE18113F-3779-4A65-87D1-C584C28E733E}" dt="2024-09-02T06:22:57.654" v="173" actId="47"/>
        <pc:sldMkLst>
          <pc:docMk/>
          <pc:sldMk cId="2248024280" sldId="2147471676"/>
        </pc:sldMkLst>
      </pc:sldChg>
      <pc:sldChg chg="del">
        <pc:chgData name="Connor Xu" userId="a2fa5610-7f85-41f8-9630-afc02cec4fa9" providerId="ADAL" clId="{EE18113F-3779-4A65-87D1-C584C28E733E}" dt="2024-09-02T06:22:57.716" v="175" actId="47"/>
        <pc:sldMkLst>
          <pc:docMk/>
          <pc:sldMk cId="117569877" sldId="2147471677"/>
        </pc:sldMkLst>
      </pc:sldChg>
      <pc:sldChg chg="del">
        <pc:chgData name="Connor Xu" userId="a2fa5610-7f85-41f8-9630-afc02cec4fa9" providerId="ADAL" clId="{EE18113F-3779-4A65-87D1-C584C28E733E}" dt="2024-09-02T06:22:57.618" v="172" actId="47"/>
        <pc:sldMkLst>
          <pc:docMk/>
          <pc:sldMk cId="3154054699" sldId="2147471678"/>
        </pc:sldMkLst>
      </pc:sldChg>
      <pc:sldChg chg="del">
        <pc:chgData name="Connor Xu" userId="a2fa5610-7f85-41f8-9630-afc02cec4fa9" providerId="ADAL" clId="{EE18113F-3779-4A65-87D1-C584C28E733E}" dt="2024-09-02T06:22:57.594" v="171" actId="47"/>
        <pc:sldMkLst>
          <pc:docMk/>
          <pc:sldMk cId="1859976950" sldId="2147471679"/>
        </pc:sldMkLst>
      </pc:sldChg>
      <pc:sldChg chg="del">
        <pc:chgData name="Connor Xu" userId="a2fa5610-7f85-41f8-9630-afc02cec4fa9" providerId="ADAL" clId="{EE18113F-3779-4A65-87D1-C584C28E733E}" dt="2024-09-02T06:22:57.687" v="174" actId="47"/>
        <pc:sldMkLst>
          <pc:docMk/>
          <pc:sldMk cId="1951381099" sldId="2147471680"/>
        </pc:sldMkLst>
      </pc:sldChg>
      <pc:sldChg chg="del">
        <pc:chgData name="Connor Xu" userId="a2fa5610-7f85-41f8-9630-afc02cec4fa9" providerId="ADAL" clId="{EE18113F-3779-4A65-87D1-C584C28E733E}" dt="2024-09-02T06:22:57.815" v="178" actId="47"/>
        <pc:sldMkLst>
          <pc:docMk/>
          <pc:sldMk cId="317380609" sldId="2147471681"/>
        </pc:sldMkLst>
      </pc:sldChg>
      <pc:sldChg chg="del">
        <pc:chgData name="Connor Xu" userId="a2fa5610-7f85-41f8-9630-afc02cec4fa9" providerId="ADAL" clId="{EE18113F-3779-4A65-87D1-C584C28E733E}" dt="2024-09-02T06:22:59.380" v="204" actId="47"/>
        <pc:sldMkLst>
          <pc:docMk/>
          <pc:sldMk cId="2642691466" sldId="2147471682"/>
        </pc:sldMkLst>
      </pc:sldChg>
      <pc:sldChg chg="del">
        <pc:chgData name="Connor Xu" userId="a2fa5610-7f85-41f8-9630-afc02cec4fa9" providerId="ADAL" clId="{EE18113F-3779-4A65-87D1-C584C28E733E}" dt="2024-09-02T06:22:59.353" v="203" actId="47"/>
        <pc:sldMkLst>
          <pc:docMk/>
          <pc:sldMk cId="3513574442" sldId="2147471683"/>
        </pc:sldMkLst>
      </pc:sldChg>
      <pc:sldChg chg="del">
        <pc:chgData name="Connor Xu" userId="a2fa5610-7f85-41f8-9630-afc02cec4fa9" providerId="ADAL" clId="{EE18113F-3779-4A65-87D1-C584C28E733E}" dt="2024-09-02T06:22:59.322" v="202" actId="47"/>
        <pc:sldMkLst>
          <pc:docMk/>
          <pc:sldMk cId="2085506671" sldId="2147471684"/>
        </pc:sldMkLst>
      </pc:sldChg>
      <pc:sldChg chg="del">
        <pc:chgData name="Connor Xu" userId="a2fa5610-7f85-41f8-9630-afc02cec4fa9" providerId="ADAL" clId="{EE18113F-3779-4A65-87D1-C584C28E733E}" dt="2024-09-02T06:22:59.218" v="199" actId="47"/>
        <pc:sldMkLst>
          <pc:docMk/>
          <pc:sldMk cId="1580791421" sldId="2147471685"/>
        </pc:sldMkLst>
      </pc:sldChg>
      <pc:sldChg chg="del">
        <pc:chgData name="Connor Xu" userId="a2fa5610-7f85-41f8-9630-afc02cec4fa9" providerId="ADAL" clId="{EE18113F-3779-4A65-87D1-C584C28E733E}" dt="2024-09-02T06:22:59.202" v="198" actId="47"/>
        <pc:sldMkLst>
          <pc:docMk/>
          <pc:sldMk cId="2810992890" sldId="2147471686"/>
        </pc:sldMkLst>
      </pc:sldChg>
      <pc:sldChg chg="del">
        <pc:chgData name="Connor Xu" userId="a2fa5610-7f85-41f8-9630-afc02cec4fa9" providerId="ADAL" clId="{EE18113F-3779-4A65-87D1-C584C28E733E}" dt="2024-09-02T06:22:59.178" v="197" actId="47"/>
        <pc:sldMkLst>
          <pc:docMk/>
          <pc:sldMk cId="1161934176" sldId="2147471687"/>
        </pc:sldMkLst>
      </pc:sldChg>
      <pc:sldChg chg="del">
        <pc:chgData name="Connor Xu" userId="a2fa5610-7f85-41f8-9630-afc02cec4fa9" providerId="ADAL" clId="{EE18113F-3779-4A65-87D1-C584C28E733E}" dt="2024-09-02T06:22:59.150" v="196" actId="47"/>
        <pc:sldMkLst>
          <pc:docMk/>
          <pc:sldMk cId="1442934920" sldId="2147471688"/>
        </pc:sldMkLst>
      </pc:sldChg>
      <pc:sldChg chg="del">
        <pc:chgData name="Connor Xu" userId="a2fa5610-7f85-41f8-9630-afc02cec4fa9" providerId="ADAL" clId="{EE18113F-3779-4A65-87D1-C584C28E733E}" dt="2024-09-02T06:22:58.902" v="188" actId="47"/>
        <pc:sldMkLst>
          <pc:docMk/>
          <pc:sldMk cId="529242565" sldId="2147471689"/>
        </pc:sldMkLst>
      </pc:sldChg>
      <pc:sldChg chg="del">
        <pc:chgData name="Connor Xu" userId="a2fa5610-7f85-41f8-9630-afc02cec4fa9" providerId="ADAL" clId="{EE18113F-3779-4A65-87D1-C584C28E733E}" dt="2024-09-02T06:22:57.975" v="182" actId="47"/>
        <pc:sldMkLst>
          <pc:docMk/>
          <pc:sldMk cId="1536752548" sldId="2147471690"/>
        </pc:sldMkLst>
      </pc:sldChg>
      <pc:sldChg chg="del">
        <pc:chgData name="Connor Xu" userId="a2fa5610-7f85-41f8-9630-afc02cec4fa9" providerId="ADAL" clId="{EE18113F-3779-4A65-87D1-C584C28E733E}" dt="2024-09-02T06:22:59.087" v="195" actId="47"/>
        <pc:sldMkLst>
          <pc:docMk/>
          <pc:sldMk cId="3876904478" sldId="2147471691"/>
        </pc:sldMkLst>
      </pc:sldChg>
      <pc:sldChg chg="del">
        <pc:chgData name="Connor Xu" userId="a2fa5610-7f85-41f8-9630-afc02cec4fa9" providerId="ADAL" clId="{EE18113F-3779-4A65-87D1-C584C28E733E}" dt="2024-09-02T06:22:58.999" v="192" actId="47"/>
        <pc:sldMkLst>
          <pc:docMk/>
          <pc:sldMk cId="2828822903" sldId="2147471692"/>
        </pc:sldMkLst>
      </pc:sldChg>
      <pc:sldChg chg="del">
        <pc:chgData name="Connor Xu" userId="a2fa5610-7f85-41f8-9630-afc02cec4fa9" providerId="ADAL" clId="{EE18113F-3779-4A65-87D1-C584C28E733E}" dt="2024-09-02T06:22:58.980" v="191" actId="47"/>
        <pc:sldMkLst>
          <pc:docMk/>
          <pc:sldMk cId="885697743" sldId="2147471693"/>
        </pc:sldMkLst>
      </pc:sldChg>
      <pc:sldChg chg="del">
        <pc:chgData name="Connor Xu" userId="a2fa5610-7f85-41f8-9630-afc02cec4fa9" providerId="ADAL" clId="{EE18113F-3779-4A65-87D1-C584C28E733E}" dt="2024-09-02T06:22:58.952" v="190" actId="47"/>
        <pc:sldMkLst>
          <pc:docMk/>
          <pc:sldMk cId="1336010786" sldId="2147471694"/>
        </pc:sldMkLst>
      </pc:sldChg>
      <pc:sldChg chg="del">
        <pc:chgData name="Connor Xu" userId="a2fa5610-7f85-41f8-9630-afc02cec4fa9" providerId="ADAL" clId="{EE18113F-3779-4A65-87D1-C584C28E733E}" dt="2024-09-02T06:22:58.927" v="189" actId="47"/>
        <pc:sldMkLst>
          <pc:docMk/>
          <pc:sldMk cId="3336939340" sldId="2147471695"/>
        </pc:sldMkLst>
      </pc:sldChg>
      <pc:sldChg chg="del">
        <pc:chgData name="Connor Xu" userId="a2fa5610-7f85-41f8-9630-afc02cec4fa9" providerId="ADAL" clId="{EE18113F-3779-4A65-87D1-C584C28E733E}" dt="2024-09-02T06:22:58.772" v="185" actId="47"/>
        <pc:sldMkLst>
          <pc:docMk/>
          <pc:sldMk cId="2464139924" sldId="2147471697"/>
        </pc:sldMkLst>
      </pc:sldChg>
      <pc:sldChg chg="del">
        <pc:chgData name="Connor Xu" userId="a2fa5610-7f85-41f8-9630-afc02cec4fa9" providerId="ADAL" clId="{EE18113F-3779-4A65-87D1-C584C28E733E}" dt="2024-09-02T06:22:58.274" v="184" actId="47"/>
        <pc:sldMkLst>
          <pc:docMk/>
          <pc:sldMk cId="1885421300" sldId="2147471698"/>
        </pc:sldMkLst>
      </pc:sldChg>
      <pc:sldChg chg="del">
        <pc:chgData name="Connor Xu" userId="a2fa5610-7f85-41f8-9630-afc02cec4fa9" providerId="ADAL" clId="{EE18113F-3779-4A65-87D1-C584C28E733E}" dt="2024-09-02T06:22:58.006" v="183" actId="47"/>
        <pc:sldMkLst>
          <pc:docMk/>
          <pc:sldMk cId="1543594696" sldId="2147471699"/>
        </pc:sldMkLst>
      </pc:sldChg>
      <pc:sldChg chg="del">
        <pc:chgData name="Connor Xu" userId="a2fa5610-7f85-41f8-9630-afc02cec4fa9" providerId="ADAL" clId="{EE18113F-3779-4A65-87D1-C584C28E733E}" dt="2024-09-02T06:22:57.897" v="181" actId="47"/>
        <pc:sldMkLst>
          <pc:docMk/>
          <pc:sldMk cId="3050277897" sldId="2147471700"/>
        </pc:sldMkLst>
      </pc:sldChg>
      <pc:sldChg chg="del">
        <pc:chgData name="Connor Xu" userId="a2fa5610-7f85-41f8-9630-afc02cec4fa9" providerId="ADAL" clId="{EE18113F-3779-4A65-87D1-C584C28E733E}" dt="2024-09-02T06:22:57.878" v="180" actId="47"/>
        <pc:sldMkLst>
          <pc:docMk/>
          <pc:sldMk cId="188128769" sldId="2147471701"/>
        </pc:sldMkLst>
      </pc:sldChg>
      <pc:sldChg chg="add del">
        <pc:chgData name="Connor Xu" userId="a2fa5610-7f85-41f8-9630-afc02cec4fa9" providerId="ADAL" clId="{EE18113F-3779-4A65-87D1-C584C28E733E}" dt="2024-09-02T06:11:15.868" v="49" actId="47"/>
        <pc:sldMkLst>
          <pc:docMk/>
          <pc:sldMk cId="1804463549" sldId="2147471702"/>
        </pc:sldMkLst>
      </pc:sldChg>
      <pc:sldChg chg="add del">
        <pc:chgData name="Connor Xu" userId="a2fa5610-7f85-41f8-9630-afc02cec4fa9" providerId="ADAL" clId="{EE18113F-3779-4A65-87D1-C584C28E733E}" dt="2024-09-02T06:11:15.868" v="49" actId="47"/>
        <pc:sldMkLst>
          <pc:docMk/>
          <pc:sldMk cId="2490397139" sldId="2147471703"/>
        </pc:sldMkLst>
      </pc:sldChg>
      <pc:sldChg chg="add del ord">
        <pc:chgData name="Connor Xu" userId="a2fa5610-7f85-41f8-9630-afc02cec4fa9" providerId="ADAL" clId="{EE18113F-3779-4A65-87D1-C584C28E733E}" dt="2024-09-02T06:22:54.543" v="134" actId="47"/>
        <pc:sldMkLst>
          <pc:docMk/>
          <pc:sldMk cId="605729638" sldId="2147471704"/>
        </pc:sldMkLst>
      </pc:sldChg>
      <pc:sldChg chg="add del">
        <pc:chgData name="Connor Xu" userId="a2fa5610-7f85-41f8-9630-afc02cec4fa9" providerId="ADAL" clId="{EE18113F-3779-4A65-87D1-C584C28E733E}" dt="2024-09-02T06:27:27.845" v="262" actId="47"/>
        <pc:sldMkLst>
          <pc:docMk/>
          <pc:sldMk cId="2417902668" sldId="2147471705"/>
        </pc:sldMkLst>
      </pc:sldChg>
      <pc:sldChg chg="add del">
        <pc:chgData name="Connor Xu" userId="a2fa5610-7f85-41f8-9630-afc02cec4fa9" providerId="ADAL" clId="{EE18113F-3779-4A65-87D1-C584C28E733E}" dt="2024-09-02T06:23:05.222" v="251" actId="47"/>
        <pc:sldMkLst>
          <pc:docMk/>
          <pc:sldMk cId="3816600072" sldId="2147471706"/>
        </pc:sldMkLst>
      </pc:sldChg>
      <pc:sldChg chg="add del">
        <pc:chgData name="Connor Xu" userId="a2fa5610-7f85-41f8-9630-afc02cec4fa9" providerId="ADAL" clId="{EE18113F-3779-4A65-87D1-C584C28E733E}" dt="2024-09-02T06:23:04.440" v="250" actId="47"/>
        <pc:sldMkLst>
          <pc:docMk/>
          <pc:sldMk cId="776219425" sldId="2147471707"/>
        </pc:sldMkLst>
      </pc:sldChg>
      <pc:sldChg chg="add del">
        <pc:chgData name="Connor Xu" userId="a2fa5610-7f85-41f8-9630-afc02cec4fa9" providerId="ADAL" clId="{EE18113F-3779-4A65-87D1-C584C28E733E}" dt="2024-09-02T06:23:04.317" v="249" actId="47"/>
        <pc:sldMkLst>
          <pc:docMk/>
          <pc:sldMk cId="2001695638" sldId="2147471708"/>
        </pc:sldMkLst>
      </pc:sldChg>
      <pc:sldChg chg="add del">
        <pc:chgData name="Connor Xu" userId="a2fa5610-7f85-41f8-9630-afc02cec4fa9" providerId="ADAL" clId="{EE18113F-3779-4A65-87D1-C584C28E733E}" dt="2024-09-02T06:23:04.293" v="248" actId="47"/>
        <pc:sldMkLst>
          <pc:docMk/>
          <pc:sldMk cId="1649361447" sldId="2147471709"/>
        </pc:sldMkLst>
      </pc:sldChg>
      <pc:sldChg chg="add del">
        <pc:chgData name="Connor Xu" userId="a2fa5610-7f85-41f8-9630-afc02cec4fa9" providerId="ADAL" clId="{EE18113F-3779-4A65-87D1-C584C28E733E}" dt="2024-09-02T06:23:03.886" v="247" actId="47"/>
        <pc:sldMkLst>
          <pc:docMk/>
          <pc:sldMk cId="2140167594" sldId="2147471710"/>
        </pc:sldMkLst>
      </pc:sldChg>
      <pc:sldChg chg="add del">
        <pc:chgData name="Connor Xu" userId="a2fa5610-7f85-41f8-9630-afc02cec4fa9" providerId="ADAL" clId="{EE18113F-3779-4A65-87D1-C584C28E733E}" dt="2024-09-02T06:12:29.828" v="125" actId="47"/>
        <pc:sldMkLst>
          <pc:docMk/>
          <pc:sldMk cId="60237424" sldId="2147471711"/>
        </pc:sldMkLst>
      </pc:sldChg>
      <pc:sldChg chg="add del">
        <pc:chgData name="Connor Xu" userId="a2fa5610-7f85-41f8-9630-afc02cec4fa9" providerId="ADAL" clId="{EE18113F-3779-4A65-87D1-C584C28E733E}" dt="2024-09-02T06:11:08.850" v="48" actId="47"/>
        <pc:sldMkLst>
          <pc:docMk/>
          <pc:sldMk cId="715204403" sldId="2147471711"/>
        </pc:sldMkLst>
      </pc:sldChg>
      <pc:sldChg chg="add del">
        <pc:chgData name="Connor Xu" userId="a2fa5610-7f85-41f8-9630-afc02cec4fa9" providerId="ADAL" clId="{EE18113F-3779-4A65-87D1-C584C28E733E}" dt="2024-09-02T06:10:58.398" v="46"/>
        <pc:sldMkLst>
          <pc:docMk/>
          <pc:sldMk cId="3762877494" sldId="2147471711"/>
        </pc:sldMkLst>
      </pc:sldChg>
      <pc:sldChg chg="add del">
        <pc:chgData name="Connor Xu" userId="a2fa5610-7f85-41f8-9630-afc02cec4fa9" providerId="ADAL" clId="{EE18113F-3779-4A65-87D1-C584C28E733E}" dt="2024-09-02T06:10:53.736" v="41"/>
        <pc:sldMkLst>
          <pc:docMk/>
          <pc:sldMk cId="753442791" sldId="2147471712"/>
        </pc:sldMkLst>
      </pc:sldChg>
      <pc:sldChg chg="modSp add mod">
        <pc:chgData name="Connor Xu" userId="a2fa5610-7f85-41f8-9630-afc02cec4fa9" providerId="ADAL" clId="{EE18113F-3779-4A65-87D1-C584C28E733E}" dt="2024-09-02T06:12:27.590" v="124" actId="20577"/>
        <pc:sldMkLst>
          <pc:docMk/>
          <pc:sldMk cId="2109793814" sldId="2147471712"/>
        </pc:sldMkLst>
        <pc:spChg chg="mod">
          <ac:chgData name="Connor Xu" userId="a2fa5610-7f85-41f8-9630-afc02cec4fa9" providerId="ADAL" clId="{EE18113F-3779-4A65-87D1-C584C28E733E}" dt="2024-09-02T06:12:27.590" v="124" actId="20577"/>
          <ac:spMkLst>
            <pc:docMk/>
            <pc:sldMk cId="2109793814" sldId="2147471712"/>
            <ac:spMk id="2" creationId="{3C42A615-E19E-F1ED-CA05-77A2773C1430}"/>
          </ac:spMkLst>
        </pc:spChg>
      </pc:sldChg>
      <pc:sldChg chg="add del">
        <pc:chgData name="Connor Xu" userId="a2fa5610-7f85-41f8-9630-afc02cec4fa9" providerId="ADAL" clId="{EE18113F-3779-4A65-87D1-C584C28E733E}" dt="2024-09-02T06:10:55.807" v="43"/>
        <pc:sldMkLst>
          <pc:docMk/>
          <pc:sldMk cId="3768546874" sldId="2147471712"/>
        </pc:sldMkLst>
      </pc:sldChg>
      <pc:sldChg chg="add del">
        <pc:chgData name="Connor Xu" userId="a2fa5610-7f85-41f8-9630-afc02cec4fa9" providerId="ADAL" clId="{EE18113F-3779-4A65-87D1-C584C28E733E}" dt="2024-09-02T06:14:03.160" v="130"/>
        <pc:sldMkLst>
          <pc:docMk/>
          <pc:sldMk cId="120604489" sldId="2147471713"/>
        </pc:sldMkLst>
      </pc:sldChg>
      <pc:sldChg chg="del">
        <pc:chgData name="Connor Xu" userId="a2fa5610-7f85-41f8-9630-afc02cec4fa9" providerId="ADAL" clId="{EE18113F-3779-4A65-87D1-C584C28E733E}" dt="2024-09-02T06:13:57.923" v="128"/>
        <pc:sldMkLst>
          <pc:docMk/>
          <pc:sldMk cId="635142494" sldId="2147471713"/>
        </pc:sldMkLst>
      </pc:sldChg>
      <pc:sldChg chg="modSp add mod">
        <pc:chgData name="Connor Xu" userId="a2fa5610-7f85-41f8-9630-afc02cec4fa9" providerId="ADAL" clId="{EE18113F-3779-4A65-87D1-C584C28E733E}" dt="2024-09-02T06:14:22.327" v="132" actId="1076"/>
        <pc:sldMkLst>
          <pc:docMk/>
          <pc:sldMk cId="1934279466" sldId="2147471713"/>
        </pc:sldMkLst>
        <pc:spChg chg="mod">
          <ac:chgData name="Connor Xu" userId="a2fa5610-7f85-41f8-9630-afc02cec4fa9" providerId="ADAL" clId="{EE18113F-3779-4A65-87D1-C584C28E733E}" dt="2024-09-02T06:14:22.327" v="132" actId="1076"/>
          <ac:spMkLst>
            <pc:docMk/>
            <pc:sldMk cId="1934279466" sldId="2147471713"/>
            <ac:spMk id="5" creationId="{F64A6E85-BECE-C17C-E08C-F9587F8DA8DD}"/>
          </ac:spMkLst>
        </pc:spChg>
      </pc:sldChg>
      <pc:sldChg chg="add del">
        <pc:chgData name="Connor Xu" userId="a2fa5610-7f85-41f8-9630-afc02cec4fa9" providerId="ADAL" clId="{EE18113F-3779-4A65-87D1-C584C28E733E}" dt="2024-09-02T06:13:49.934" v="127"/>
        <pc:sldMkLst>
          <pc:docMk/>
          <pc:sldMk cId="3846586942" sldId="2147471713"/>
        </pc:sldMkLst>
      </pc:sldChg>
      <pc:sldChg chg="add del">
        <pc:chgData name="Connor Xu" userId="a2fa5610-7f85-41f8-9630-afc02cec4fa9" providerId="ADAL" clId="{EE18113F-3779-4A65-87D1-C584C28E733E}" dt="2024-09-02T06:14:03.160" v="130"/>
        <pc:sldMkLst>
          <pc:docMk/>
          <pc:sldMk cId="12349631" sldId="2147471714"/>
        </pc:sldMkLst>
      </pc:sldChg>
      <pc:sldChg chg="del">
        <pc:chgData name="Connor Xu" userId="a2fa5610-7f85-41f8-9630-afc02cec4fa9" providerId="ADAL" clId="{EE18113F-3779-4A65-87D1-C584C28E733E}" dt="2024-09-02T06:13:57.923" v="128"/>
        <pc:sldMkLst>
          <pc:docMk/>
          <pc:sldMk cId="1294451456" sldId="2147471714"/>
        </pc:sldMkLst>
      </pc:sldChg>
      <pc:sldChg chg="add del">
        <pc:chgData name="Connor Xu" userId="a2fa5610-7f85-41f8-9630-afc02cec4fa9" providerId="ADAL" clId="{EE18113F-3779-4A65-87D1-C584C28E733E}" dt="2024-09-02T06:13:49.934" v="127"/>
        <pc:sldMkLst>
          <pc:docMk/>
          <pc:sldMk cId="2349457672" sldId="2147471714"/>
        </pc:sldMkLst>
      </pc:sldChg>
      <pc:sldChg chg="add del">
        <pc:chgData name="Connor Xu" userId="a2fa5610-7f85-41f8-9630-afc02cec4fa9" providerId="ADAL" clId="{EE18113F-3779-4A65-87D1-C584C28E733E}" dt="2024-09-02T06:14:03.160" v="130"/>
        <pc:sldMkLst>
          <pc:docMk/>
          <pc:sldMk cId="469060526" sldId="2147471715"/>
        </pc:sldMkLst>
      </pc:sldChg>
      <pc:sldChg chg="del">
        <pc:chgData name="Connor Xu" userId="a2fa5610-7f85-41f8-9630-afc02cec4fa9" providerId="ADAL" clId="{EE18113F-3779-4A65-87D1-C584C28E733E}" dt="2024-09-02T06:13:57.923" v="128"/>
        <pc:sldMkLst>
          <pc:docMk/>
          <pc:sldMk cId="578536408" sldId="2147471715"/>
        </pc:sldMkLst>
      </pc:sldChg>
      <pc:sldChg chg="add del">
        <pc:chgData name="Connor Xu" userId="a2fa5610-7f85-41f8-9630-afc02cec4fa9" providerId="ADAL" clId="{EE18113F-3779-4A65-87D1-C584C28E733E}" dt="2024-09-02T06:13:49.934" v="127"/>
        <pc:sldMkLst>
          <pc:docMk/>
          <pc:sldMk cId="3811135372" sldId="2147471715"/>
        </pc:sldMkLst>
      </pc:sldChg>
      <pc:sldMasterChg chg="delSldLayout">
        <pc:chgData name="Connor Xu" userId="a2fa5610-7f85-41f8-9630-afc02cec4fa9" providerId="ADAL" clId="{EE18113F-3779-4A65-87D1-C584C28E733E}" dt="2024-09-02T06:27:46.713" v="263" actId="47"/>
        <pc:sldMasterMkLst>
          <pc:docMk/>
          <pc:sldMasterMk cId="3713331802" sldId="2147483670"/>
        </pc:sldMasterMkLst>
        <pc:sldLayoutChg chg="del">
          <pc:chgData name="Connor Xu" userId="a2fa5610-7f85-41f8-9630-afc02cec4fa9" providerId="ADAL" clId="{EE18113F-3779-4A65-87D1-C584C28E733E}" dt="2024-09-02T06:11:15.868" v="49" actId="47"/>
          <pc:sldLayoutMkLst>
            <pc:docMk/>
            <pc:sldMasterMk cId="3713331802" sldId="2147483670"/>
            <pc:sldLayoutMk cId="2133319720" sldId="2147483802"/>
          </pc:sldLayoutMkLst>
        </pc:sldLayoutChg>
        <pc:sldLayoutChg chg="del">
          <pc:chgData name="Connor Xu" userId="a2fa5610-7f85-41f8-9630-afc02cec4fa9" providerId="ADAL" clId="{EE18113F-3779-4A65-87D1-C584C28E733E}" dt="2024-09-02T06:23:18.977" v="254" actId="47"/>
          <pc:sldLayoutMkLst>
            <pc:docMk/>
            <pc:sldMasterMk cId="3713331802" sldId="2147483670"/>
            <pc:sldLayoutMk cId="3181697041" sldId="2147483803"/>
          </pc:sldLayoutMkLst>
        </pc:sldLayoutChg>
        <pc:sldLayoutChg chg="del">
          <pc:chgData name="Connor Xu" userId="a2fa5610-7f85-41f8-9630-afc02cec4fa9" providerId="ADAL" clId="{EE18113F-3779-4A65-87D1-C584C28E733E}" dt="2024-09-02T06:27:46.713" v="263" actId="47"/>
          <pc:sldLayoutMkLst>
            <pc:docMk/>
            <pc:sldMasterMk cId="3713331802" sldId="2147483670"/>
            <pc:sldLayoutMk cId="4037672443" sldId="2147483807"/>
          </pc:sldLayoutMkLst>
        </pc:sldLayoutChg>
        <pc:sldLayoutChg chg="del">
          <pc:chgData name="Connor Xu" userId="a2fa5610-7f85-41f8-9630-afc02cec4fa9" providerId="ADAL" clId="{EE18113F-3779-4A65-87D1-C584C28E733E}" dt="2024-09-02T06:23:04.440" v="250" actId="47"/>
          <pc:sldLayoutMkLst>
            <pc:docMk/>
            <pc:sldMasterMk cId="3713331802" sldId="2147483670"/>
            <pc:sldLayoutMk cId="2922988896" sldId="2147483808"/>
          </pc:sldLayoutMkLst>
        </pc:sldLayoutChg>
      </pc:sldMasterChg>
    </pc:docChg>
  </pc:docChgLst>
  <pc:docChgLst>
    <pc:chgData name="Helena Worthington (DTF)" userId="872c2340-4a31-4883-b18d-67548b3a9bcd" providerId="ADAL" clId="{D11082E8-C8CB-428A-9149-7684E0BF046B}"/>
    <pc:docChg chg="custSel modSld">
      <pc:chgData name="Helena Worthington (DTF)" userId="872c2340-4a31-4883-b18d-67548b3a9bcd" providerId="ADAL" clId="{D11082E8-C8CB-428A-9149-7684E0BF046B}" dt="2024-10-27T23:50:07.259" v="39" actId="6549"/>
      <pc:docMkLst>
        <pc:docMk/>
      </pc:docMkLst>
      <pc:sldChg chg="modSp mod modCm">
        <pc:chgData name="Helena Worthington (DTF)" userId="872c2340-4a31-4883-b18d-67548b3a9bcd" providerId="ADAL" clId="{D11082E8-C8CB-428A-9149-7684E0BF046B}" dt="2024-10-27T23:50:07.259" v="39" actId="6549"/>
        <pc:sldMkLst>
          <pc:docMk/>
          <pc:sldMk cId="3575811757" sldId="2147471719"/>
        </pc:sldMkLst>
        <pc:spChg chg="mod">
          <ac:chgData name="Helena Worthington (DTF)" userId="872c2340-4a31-4883-b18d-67548b3a9bcd" providerId="ADAL" clId="{D11082E8-C8CB-428A-9149-7684E0BF046B}" dt="2024-10-27T23:50:07.259" v="39" actId="6549"/>
          <ac:spMkLst>
            <pc:docMk/>
            <pc:sldMk cId="3575811757" sldId="2147471719"/>
            <ac:spMk id="21" creationId="{FB2D641F-7EE6-BED9-C5FC-DF6B9F5C3E5D}"/>
          </ac:spMkLst>
        </pc:spChg>
        <pc:extLst>
          <p:ext xmlns:p="http://schemas.openxmlformats.org/presentationml/2006/main" uri="{D6D511B9-2390-475A-947B-AFAB55BFBCF1}">
            <pc226:cmChg xmlns:pc226="http://schemas.microsoft.com/office/powerpoint/2022/06/main/command" chg="mod">
              <pc226:chgData name="Helena Worthington (DTF)" userId="872c2340-4a31-4883-b18d-67548b3a9bcd" providerId="ADAL" clId="{D11082E8-C8CB-428A-9149-7684E0BF046B}" dt="2024-10-27T23:50:07.259" v="39" actId="6549"/>
              <pc2:cmMkLst xmlns:pc2="http://schemas.microsoft.com/office/powerpoint/2019/9/main/command">
                <pc:docMk/>
                <pc:sldMk cId="3575811757" sldId="2147471719"/>
                <pc2:cmMk id="{F56DF338-F5EB-4C89-A4C9-3C9F81284E80}"/>
              </pc2:cmMkLst>
            </pc226:cmChg>
          </p:ext>
        </pc:extLst>
      </pc:sldChg>
    </pc:docChg>
  </pc:docChgLst>
  <pc:docChgLst>
    <pc:chgData name="Jackson Quinn" userId="f4787004-1b70-4f1d-97ed-cc65f8b67785" providerId="ADAL" clId="{6EEDA9EF-FC18-419A-9FD7-AAA3E5DC7D51}"/>
    <pc:docChg chg="undo custSel addSld delSld modSld sldOrd modSection">
      <pc:chgData name="Jackson Quinn" userId="f4787004-1b70-4f1d-97ed-cc65f8b67785" providerId="ADAL" clId="{6EEDA9EF-FC18-419A-9FD7-AAA3E5DC7D51}" dt="2024-09-12T02:30:48.266" v="1674" actId="1076"/>
      <pc:docMkLst>
        <pc:docMk/>
      </pc:docMkLst>
      <pc:sldChg chg="addSp modSp add del mod">
        <pc:chgData name="Jackson Quinn" userId="f4787004-1b70-4f1d-97ed-cc65f8b67785" providerId="ADAL" clId="{6EEDA9EF-FC18-419A-9FD7-AAA3E5DC7D51}" dt="2024-09-10T02:50:21.513" v="227" actId="2696"/>
        <pc:sldMkLst>
          <pc:docMk/>
          <pc:sldMk cId="484976104" sldId="2145706311"/>
        </pc:sldMkLst>
        <pc:spChg chg="mod">
          <ac:chgData name="Jackson Quinn" userId="f4787004-1b70-4f1d-97ed-cc65f8b67785" providerId="ADAL" clId="{6EEDA9EF-FC18-419A-9FD7-AAA3E5DC7D51}" dt="2024-09-10T02:49:20.638" v="223" actId="1076"/>
          <ac:spMkLst>
            <pc:docMk/>
            <pc:sldMk cId="484976104" sldId="2145706311"/>
            <ac:spMk id="2" creationId="{C9BE8670-6D23-469F-467A-78776A0BE96C}"/>
          </ac:spMkLst>
        </pc:spChg>
        <pc:spChg chg="mod">
          <ac:chgData name="Jackson Quinn" userId="f4787004-1b70-4f1d-97ed-cc65f8b67785" providerId="ADAL" clId="{6EEDA9EF-FC18-419A-9FD7-AAA3E5DC7D51}" dt="2024-09-10T02:46:59.472" v="68"/>
          <ac:spMkLst>
            <pc:docMk/>
            <pc:sldMk cId="484976104" sldId="2145706311"/>
            <ac:spMk id="4" creationId="{325E8A98-3189-FFD4-000F-C7CA8A549FBE}"/>
          </ac:spMkLst>
        </pc:spChg>
        <pc:spChg chg="mod">
          <ac:chgData name="Jackson Quinn" userId="f4787004-1b70-4f1d-97ed-cc65f8b67785" providerId="ADAL" clId="{6EEDA9EF-FC18-419A-9FD7-AAA3E5DC7D51}" dt="2024-09-10T02:47:58.130" v="213" actId="20577"/>
          <ac:spMkLst>
            <pc:docMk/>
            <pc:sldMk cId="484976104" sldId="2145706311"/>
            <ac:spMk id="5" creationId="{6559C4F7-B48B-50E1-EA12-CCCF8E23727E}"/>
          </ac:spMkLst>
        </pc:spChg>
        <pc:picChg chg="add mod">
          <ac:chgData name="Jackson Quinn" userId="f4787004-1b70-4f1d-97ed-cc65f8b67785" providerId="ADAL" clId="{6EEDA9EF-FC18-419A-9FD7-AAA3E5DC7D51}" dt="2024-09-10T02:49:19.813" v="222" actId="1076"/>
          <ac:picMkLst>
            <pc:docMk/>
            <pc:sldMk cId="484976104" sldId="2145706311"/>
            <ac:picMk id="6" creationId="{C0E66619-4233-654E-E40D-35DEF72F6095}"/>
          </ac:picMkLst>
        </pc:picChg>
      </pc:sldChg>
      <pc:sldChg chg="addSp delSp modSp mod modShow">
        <pc:chgData name="Jackson Quinn" userId="f4787004-1b70-4f1d-97ed-cc65f8b67785" providerId="ADAL" clId="{6EEDA9EF-FC18-419A-9FD7-AAA3E5DC7D51}" dt="2024-09-12T02:10:51.067" v="1672" actId="20577"/>
        <pc:sldMkLst>
          <pc:docMk/>
          <pc:sldMk cId="2083619045" sldId="2147471602"/>
        </pc:sldMkLst>
        <pc:spChg chg="del">
          <ac:chgData name="Jackson Quinn" userId="f4787004-1b70-4f1d-97ed-cc65f8b67785" providerId="ADAL" clId="{6EEDA9EF-FC18-419A-9FD7-AAA3E5DC7D51}" dt="2024-09-10T02:48:18.513" v="218" actId="478"/>
          <ac:spMkLst>
            <pc:docMk/>
            <pc:sldMk cId="2083619045" sldId="2147471602"/>
            <ac:spMk id="3" creationId="{00000000-0000-0000-0000-000000000000}"/>
          </ac:spMkLst>
        </pc:spChg>
        <pc:spChg chg="mod">
          <ac:chgData name="Jackson Quinn" userId="f4787004-1b70-4f1d-97ed-cc65f8b67785" providerId="ADAL" clId="{6EEDA9EF-FC18-419A-9FD7-AAA3E5DC7D51}" dt="2024-09-12T02:10:51.067" v="1672" actId="20577"/>
          <ac:spMkLst>
            <pc:docMk/>
            <pc:sldMk cId="2083619045" sldId="2147471602"/>
            <ac:spMk id="4" creationId="{74695963-93D3-CEED-3211-EA22860FE331}"/>
          </ac:spMkLst>
        </pc:spChg>
        <pc:spChg chg="mod">
          <ac:chgData name="Jackson Quinn" userId="f4787004-1b70-4f1d-97ed-cc65f8b67785" providerId="ADAL" clId="{6EEDA9EF-FC18-419A-9FD7-AAA3E5DC7D51}" dt="2024-09-10T02:53:09.596" v="264" actId="20577"/>
          <ac:spMkLst>
            <pc:docMk/>
            <pc:sldMk cId="2083619045" sldId="2147471602"/>
            <ac:spMk id="5" creationId="{00000000-0000-0000-0000-000000000000}"/>
          </ac:spMkLst>
        </pc:spChg>
        <pc:spChg chg="del mod">
          <ac:chgData name="Jackson Quinn" userId="f4787004-1b70-4f1d-97ed-cc65f8b67785" providerId="ADAL" clId="{6EEDA9EF-FC18-419A-9FD7-AAA3E5DC7D51}" dt="2024-09-10T02:48:17.680" v="217" actId="478"/>
          <ac:spMkLst>
            <pc:docMk/>
            <pc:sldMk cId="2083619045" sldId="2147471602"/>
            <ac:spMk id="6" creationId="{AB77CB5F-9209-E844-51DA-51C1A476C81F}"/>
          </ac:spMkLst>
        </pc:spChg>
        <pc:spChg chg="add del mod">
          <ac:chgData name="Jackson Quinn" userId="f4787004-1b70-4f1d-97ed-cc65f8b67785" providerId="ADAL" clId="{6EEDA9EF-FC18-419A-9FD7-AAA3E5DC7D51}" dt="2024-09-10T02:48:20.430" v="219" actId="478"/>
          <ac:spMkLst>
            <pc:docMk/>
            <pc:sldMk cId="2083619045" sldId="2147471602"/>
            <ac:spMk id="9" creationId="{B8AC21D6-0794-3E4A-B844-F1EBE2F816AC}"/>
          </ac:spMkLst>
        </pc:spChg>
        <pc:picChg chg="add del mod">
          <ac:chgData name="Jackson Quinn" userId="f4787004-1b70-4f1d-97ed-cc65f8b67785" providerId="ADAL" clId="{6EEDA9EF-FC18-419A-9FD7-AAA3E5DC7D51}" dt="2024-09-10T02:51:12.246" v="239" actId="21"/>
          <ac:picMkLst>
            <pc:docMk/>
            <pc:sldMk cId="2083619045" sldId="2147471602"/>
            <ac:picMk id="10" creationId="{F9561050-3362-4438-16AB-CFAEBA37F032}"/>
          </ac:picMkLst>
        </pc:picChg>
        <pc:picChg chg="add del mod">
          <ac:chgData name="Jackson Quinn" userId="f4787004-1b70-4f1d-97ed-cc65f8b67785" providerId="ADAL" clId="{6EEDA9EF-FC18-419A-9FD7-AAA3E5DC7D51}" dt="2024-09-10T02:50:59.947" v="233" actId="21"/>
          <ac:picMkLst>
            <pc:docMk/>
            <pc:sldMk cId="2083619045" sldId="2147471602"/>
            <ac:picMk id="11" creationId="{F9561050-3362-4438-16AB-CFAEBA37F032}"/>
          </ac:picMkLst>
        </pc:picChg>
        <pc:picChg chg="add del mod">
          <ac:chgData name="Jackson Quinn" userId="f4787004-1b70-4f1d-97ed-cc65f8b67785" providerId="ADAL" clId="{6EEDA9EF-FC18-419A-9FD7-AAA3E5DC7D51}" dt="2024-09-10T02:51:58.863" v="249" actId="21"/>
          <ac:picMkLst>
            <pc:docMk/>
            <pc:sldMk cId="2083619045" sldId="2147471602"/>
            <ac:picMk id="13" creationId="{C0B9FF5C-3914-D030-907D-6FFB77FAB83A}"/>
          </ac:picMkLst>
        </pc:picChg>
      </pc:sldChg>
      <pc:sldChg chg="modSp mod modShow">
        <pc:chgData name="Jackson Quinn" userId="f4787004-1b70-4f1d-97ed-cc65f8b67785" providerId="ADAL" clId="{6EEDA9EF-FC18-419A-9FD7-AAA3E5DC7D51}" dt="2024-09-10T03:17:56.752" v="371" actId="729"/>
        <pc:sldMkLst>
          <pc:docMk/>
          <pc:sldMk cId="861167672" sldId="2147471655"/>
        </pc:sldMkLst>
        <pc:spChg chg="mod">
          <ac:chgData name="Jackson Quinn" userId="f4787004-1b70-4f1d-97ed-cc65f8b67785" providerId="ADAL" clId="{6EEDA9EF-FC18-419A-9FD7-AAA3E5DC7D51}" dt="2024-09-10T02:43:24.813" v="0" actId="2711"/>
          <ac:spMkLst>
            <pc:docMk/>
            <pc:sldMk cId="861167672" sldId="2147471655"/>
            <ac:spMk id="3" creationId="{825DB7DA-FBF7-D936-5ECE-9EDFB91E9FD3}"/>
          </ac:spMkLst>
        </pc:spChg>
      </pc:sldChg>
      <pc:sldChg chg="mod modShow">
        <pc:chgData name="Jackson Quinn" userId="f4787004-1b70-4f1d-97ed-cc65f8b67785" providerId="ADAL" clId="{6EEDA9EF-FC18-419A-9FD7-AAA3E5DC7D51}" dt="2024-09-10T03:19:32.652" v="373" actId="729"/>
        <pc:sldMkLst>
          <pc:docMk/>
          <pc:sldMk cId="3274022134" sldId="2147471656"/>
        </pc:sldMkLst>
      </pc:sldChg>
      <pc:sldChg chg="del">
        <pc:chgData name="Jackson Quinn" userId="f4787004-1b70-4f1d-97ed-cc65f8b67785" providerId="ADAL" clId="{6EEDA9EF-FC18-419A-9FD7-AAA3E5DC7D51}" dt="2024-09-10T02:48:05.663" v="214" actId="2696"/>
        <pc:sldMkLst>
          <pc:docMk/>
          <pc:sldMk cId="2109793814" sldId="2147471712"/>
        </pc:sldMkLst>
      </pc:sldChg>
      <pc:sldChg chg="modSp mod">
        <pc:chgData name="Jackson Quinn" userId="f4787004-1b70-4f1d-97ed-cc65f8b67785" providerId="ADAL" clId="{6EEDA9EF-FC18-419A-9FD7-AAA3E5DC7D51}" dt="2024-09-10T03:48:01.489" v="1504" actId="13926"/>
        <pc:sldMkLst>
          <pc:docMk/>
          <pc:sldMk cId="3575811757" sldId="2147471719"/>
        </pc:sldMkLst>
        <pc:spChg chg="mod">
          <ac:chgData name="Jackson Quinn" userId="f4787004-1b70-4f1d-97ed-cc65f8b67785" providerId="ADAL" clId="{6EEDA9EF-FC18-419A-9FD7-AAA3E5DC7D51}" dt="2024-09-10T02:54:51.329" v="270" actId="20577"/>
          <ac:spMkLst>
            <pc:docMk/>
            <pc:sldMk cId="3575811757" sldId="2147471719"/>
            <ac:spMk id="3" creationId="{80CE8119-45A9-B497-B743-3798888405B8}"/>
          </ac:spMkLst>
        </pc:spChg>
        <pc:spChg chg="mod">
          <ac:chgData name="Jackson Quinn" userId="f4787004-1b70-4f1d-97ed-cc65f8b67785" providerId="ADAL" clId="{6EEDA9EF-FC18-419A-9FD7-AAA3E5DC7D51}" dt="2024-09-10T03:47:58.787" v="1503" actId="13926"/>
          <ac:spMkLst>
            <pc:docMk/>
            <pc:sldMk cId="3575811757" sldId="2147471719"/>
            <ac:spMk id="5" creationId="{414FB662-191A-6AE4-B396-41A4E291EEB6}"/>
          </ac:spMkLst>
        </pc:spChg>
        <pc:spChg chg="mod">
          <ac:chgData name="Jackson Quinn" userId="f4787004-1b70-4f1d-97ed-cc65f8b67785" providerId="ADAL" clId="{6EEDA9EF-FC18-419A-9FD7-AAA3E5DC7D51}" dt="2024-09-10T03:07:10.247" v="351"/>
          <ac:spMkLst>
            <pc:docMk/>
            <pc:sldMk cId="3575811757" sldId="2147471719"/>
            <ac:spMk id="21" creationId="{FB2D641F-7EE6-BED9-C5FC-DF6B9F5C3E5D}"/>
          </ac:spMkLst>
        </pc:spChg>
        <pc:spChg chg="mod">
          <ac:chgData name="Jackson Quinn" userId="f4787004-1b70-4f1d-97ed-cc65f8b67785" providerId="ADAL" clId="{6EEDA9EF-FC18-419A-9FD7-AAA3E5DC7D51}" dt="2024-09-10T03:48:01.489" v="1504" actId="13926"/>
          <ac:spMkLst>
            <pc:docMk/>
            <pc:sldMk cId="3575811757" sldId="2147471719"/>
            <ac:spMk id="24" creationId="{A68786C5-0F08-67B4-EF2E-B2FD83DED675}"/>
          </ac:spMkLst>
        </pc:spChg>
      </pc:sldChg>
      <pc:sldChg chg="addSp modSp mod">
        <pc:chgData name="Jackson Quinn" userId="f4787004-1b70-4f1d-97ed-cc65f8b67785" providerId="ADAL" clId="{6EEDA9EF-FC18-419A-9FD7-AAA3E5DC7D51}" dt="2024-09-11T00:06:24.515" v="1654" actId="21"/>
        <pc:sldMkLst>
          <pc:docMk/>
          <pc:sldMk cId="2127873239" sldId="2147471720"/>
        </pc:sldMkLst>
        <pc:spChg chg="mod">
          <ac:chgData name="Jackson Quinn" userId="f4787004-1b70-4f1d-97ed-cc65f8b67785" providerId="ADAL" clId="{6EEDA9EF-FC18-419A-9FD7-AAA3E5DC7D51}" dt="2024-09-10T03:39:21.820" v="992" actId="1076"/>
          <ac:spMkLst>
            <pc:docMk/>
            <pc:sldMk cId="2127873239" sldId="2147471720"/>
            <ac:spMk id="2" creationId="{B068FAC4-4E35-4912-1E95-4C38FB047EE7}"/>
          </ac:spMkLst>
        </pc:spChg>
        <pc:spChg chg="mod">
          <ac:chgData name="Jackson Quinn" userId="f4787004-1b70-4f1d-97ed-cc65f8b67785" providerId="ADAL" clId="{6EEDA9EF-FC18-419A-9FD7-AAA3E5DC7D51}" dt="2024-09-10T03:22:29.269" v="484"/>
          <ac:spMkLst>
            <pc:docMk/>
            <pc:sldMk cId="2127873239" sldId="2147471720"/>
            <ac:spMk id="3" creationId="{0B0E0EEE-AAF7-27D9-5453-D9B85663617E}"/>
          </ac:spMkLst>
        </pc:spChg>
        <pc:spChg chg="mod">
          <ac:chgData name="Jackson Quinn" userId="f4787004-1b70-4f1d-97ed-cc65f8b67785" providerId="ADAL" clId="{6EEDA9EF-FC18-419A-9FD7-AAA3E5DC7D51}" dt="2024-09-10T03:40:03.586" v="1020" actId="20577"/>
          <ac:spMkLst>
            <pc:docMk/>
            <pc:sldMk cId="2127873239" sldId="2147471720"/>
            <ac:spMk id="4" creationId="{A34AFD25-F073-2AA9-1F8C-5B643660620C}"/>
          </ac:spMkLst>
        </pc:spChg>
        <pc:spChg chg="mod">
          <ac:chgData name="Jackson Quinn" userId="f4787004-1b70-4f1d-97ed-cc65f8b67785" providerId="ADAL" clId="{6EEDA9EF-FC18-419A-9FD7-AAA3E5DC7D51}" dt="2024-09-10T03:40:42.853" v="1036" actId="208"/>
          <ac:spMkLst>
            <pc:docMk/>
            <pc:sldMk cId="2127873239" sldId="2147471720"/>
            <ac:spMk id="5" creationId="{1A4245EE-7550-1348-42BA-0597B7B28C02}"/>
          </ac:spMkLst>
        </pc:spChg>
        <pc:spChg chg="mod">
          <ac:chgData name="Jackson Quinn" userId="f4787004-1b70-4f1d-97ed-cc65f8b67785" providerId="ADAL" clId="{6EEDA9EF-FC18-419A-9FD7-AAA3E5DC7D51}" dt="2024-09-11T00:06:24.515" v="1654" actId="21"/>
          <ac:spMkLst>
            <pc:docMk/>
            <pc:sldMk cId="2127873239" sldId="2147471720"/>
            <ac:spMk id="6" creationId="{A60A48B0-B84D-2E6C-9AB3-1E55A4EDF48B}"/>
          </ac:spMkLst>
        </pc:spChg>
        <pc:spChg chg="mod">
          <ac:chgData name="Jackson Quinn" userId="f4787004-1b70-4f1d-97ed-cc65f8b67785" providerId="ADAL" clId="{6EEDA9EF-FC18-419A-9FD7-AAA3E5DC7D51}" dt="2024-09-10T03:39:44.603" v="1000" actId="14100"/>
          <ac:spMkLst>
            <pc:docMk/>
            <pc:sldMk cId="2127873239" sldId="2147471720"/>
            <ac:spMk id="7" creationId="{289B9D4B-E52F-879F-C7BE-8B528A604AFB}"/>
          </ac:spMkLst>
        </pc:spChg>
        <pc:spChg chg="mod">
          <ac:chgData name="Jackson Quinn" userId="f4787004-1b70-4f1d-97ed-cc65f8b67785" providerId="ADAL" clId="{6EEDA9EF-FC18-419A-9FD7-AAA3E5DC7D51}" dt="2024-09-10T03:39:27.253" v="998" actId="1035"/>
          <ac:spMkLst>
            <pc:docMk/>
            <pc:sldMk cId="2127873239" sldId="2147471720"/>
            <ac:spMk id="8" creationId="{891E3423-7407-A5EA-5B55-2E088945E082}"/>
          </ac:spMkLst>
        </pc:spChg>
        <pc:spChg chg="add mod">
          <ac:chgData name="Jackson Quinn" userId="f4787004-1b70-4f1d-97ed-cc65f8b67785" providerId="ADAL" clId="{6EEDA9EF-FC18-419A-9FD7-AAA3E5DC7D51}" dt="2024-09-10T03:40:11.080" v="1031" actId="20577"/>
          <ac:spMkLst>
            <pc:docMk/>
            <pc:sldMk cId="2127873239" sldId="2147471720"/>
            <ac:spMk id="9" creationId="{C4D222FD-2967-61EC-71C5-E6A762D5FAF5}"/>
          </ac:spMkLst>
        </pc:spChg>
        <pc:spChg chg="mod">
          <ac:chgData name="Jackson Quinn" userId="f4787004-1b70-4f1d-97ed-cc65f8b67785" providerId="ADAL" clId="{6EEDA9EF-FC18-419A-9FD7-AAA3E5DC7D51}" dt="2024-09-10T03:39:27.253" v="998" actId="1035"/>
          <ac:spMkLst>
            <pc:docMk/>
            <pc:sldMk cId="2127873239" sldId="2147471720"/>
            <ac:spMk id="10" creationId="{1A404026-FCEB-0624-38F6-66FC81624D7D}"/>
          </ac:spMkLst>
        </pc:spChg>
        <pc:spChg chg="mod">
          <ac:chgData name="Jackson Quinn" userId="f4787004-1b70-4f1d-97ed-cc65f8b67785" providerId="ADAL" clId="{6EEDA9EF-FC18-419A-9FD7-AAA3E5DC7D51}" dt="2024-09-10T03:39:27.253" v="998" actId="1035"/>
          <ac:spMkLst>
            <pc:docMk/>
            <pc:sldMk cId="2127873239" sldId="2147471720"/>
            <ac:spMk id="11" creationId="{4F1FA879-9777-8899-FA42-1216326B54E2}"/>
          </ac:spMkLst>
        </pc:spChg>
        <pc:spChg chg="mod">
          <ac:chgData name="Jackson Quinn" userId="f4787004-1b70-4f1d-97ed-cc65f8b67785" providerId="ADAL" clId="{6EEDA9EF-FC18-419A-9FD7-AAA3E5DC7D51}" dt="2024-09-10T03:41:48.437" v="1039" actId="255"/>
          <ac:spMkLst>
            <pc:docMk/>
            <pc:sldMk cId="2127873239" sldId="2147471720"/>
            <ac:spMk id="12" creationId="{1C34904A-6761-C9C6-BE0C-22F07C4C023E}"/>
          </ac:spMkLst>
        </pc:spChg>
        <pc:spChg chg="mod">
          <ac:chgData name="Jackson Quinn" userId="f4787004-1b70-4f1d-97ed-cc65f8b67785" providerId="ADAL" clId="{6EEDA9EF-FC18-419A-9FD7-AAA3E5DC7D51}" dt="2024-09-10T03:41:48.437" v="1039" actId="255"/>
          <ac:spMkLst>
            <pc:docMk/>
            <pc:sldMk cId="2127873239" sldId="2147471720"/>
            <ac:spMk id="13" creationId="{543E921C-3B05-4BBC-62DA-45552963EB92}"/>
          </ac:spMkLst>
        </pc:spChg>
        <pc:spChg chg="mod">
          <ac:chgData name="Jackson Quinn" userId="f4787004-1b70-4f1d-97ed-cc65f8b67785" providerId="ADAL" clId="{6EEDA9EF-FC18-419A-9FD7-AAA3E5DC7D51}" dt="2024-09-10T03:39:27.253" v="998" actId="1035"/>
          <ac:spMkLst>
            <pc:docMk/>
            <pc:sldMk cId="2127873239" sldId="2147471720"/>
            <ac:spMk id="14" creationId="{9DCFF890-C3A5-7D9A-A4B7-BB2600EB0843}"/>
          </ac:spMkLst>
        </pc:spChg>
        <pc:spChg chg="mod">
          <ac:chgData name="Jackson Quinn" userId="f4787004-1b70-4f1d-97ed-cc65f8b67785" providerId="ADAL" clId="{6EEDA9EF-FC18-419A-9FD7-AAA3E5DC7D51}" dt="2024-09-10T03:39:27.253" v="998" actId="1035"/>
          <ac:spMkLst>
            <pc:docMk/>
            <pc:sldMk cId="2127873239" sldId="2147471720"/>
            <ac:spMk id="15" creationId="{EBD34830-E905-2652-84D9-F5EFAF47C04C}"/>
          </ac:spMkLst>
        </pc:spChg>
        <pc:spChg chg="mod">
          <ac:chgData name="Jackson Quinn" userId="f4787004-1b70-4f1d-97ed-cc65f8b67785" providerId="ADAL" clId="{6EEDA9EF-FC18-419A-9FD7-AAA3E5DC7D51}" dt="2024-09-10T03:39:27.253" v="998" actId="1035"/>
          <ac:spMkLst>
            <pc:docMk/>
            <pc:sldMk cId="2127873239" sldId="2147471720"/>
            <ac:spMk id="16" creationId="{637A535A-7192-076B-EE41-F4808579E6D8}"/>
          </ac:spMkLst>
        </pc:spChg>
        <pc:spChg chg="mod">
          <ac:chgData name="Jackson Quinn" userId="f4787004-1b70-4f1d-97ed-cc65f8b67785" providerId="ADAL" clId="{6EEDA9EF-FC18-419A-9FD7-AAA3E5DC7D51}" dt="2024-09-10T03:39:27.253" v="998" actId="1035"/>
          <ac:spMkLst>
            <pc:docMk/>
            <pc:sldMk cId="2127873239" sldId="2147471720"/>
            <ac:spMk id="17" creationId="{8DA5D552-A05B-0AF9-5565-0B7BE585C74F}"/>
          </ac:spMkLst>
        </pc:spChg>
        <pc:spChg chg="mod">
          <ac:chgData name="Jackson Quinn" userId="f4787004-1b70-4f1d-97ed-cc65f8b67785" providerId="ADAL" clId="{6EEDA9EF-FC18-419A-9FD7-AAA3E5DC7D51}" dt="2024-09-10T03:39:27.253" v="998" actId="1035"/>
          <ac:spMkLst>
            <pc:docMk/>
            <pc:sldMk cId="2127873239" sldId="2147471720"/>
            <ac:spMk id="18" creationId="{11BB8887-83BC-D997-919A-53AA1AA1CF11}"/>
          </ac:spMkLst>
        </pc:spChg>
        <pc:spChg chg="mod">
          <ac:chgData name="Jackson Quinn" userId="f4787004-1b70-4f1d-97ed-cc65f8b67785" providerId="ADAL" clId="{6EEDA9EF-FC18-419A-9FD7-AAA3E5DC7D51}" dt="2024-09-10T03:39:27.253" v="998" actId="1035"/>
          <ac:spMkLst>
            <pc:docMk/>
            <pc:sldMk cId="2127873239" sldId="2147471720"/>
            <ac:spMk id="19" creationId="{A245BF91-9D80-7224-BE10-7E9FB570A379}"/>
          </ac:spMkLst>
        </pc:spChg>
        <pc:spChg chg="mod">
          <ac:chgData name="Jackson Quinn" userId="f4787004-1b70-4f1d-97ed-cc65f8b67785" providerId="ADAL" clId="{6EEDA9EF-FC18-419A-9FD7-AAA3E5DC7D51}" dt="2024-09-10T03:39:27.253" v="998" actId="1035"/>
          <ac:spMkLst>
            <pc:docMk/>
            <pc:sldMk cId="2127873239" sldId="2147471720"/>
            <ac:spMk id="20" creationId="{D9142674-0911-6D92-9C50-856720D778E3}"/>
          </ac:spMkLst>
        </pc:spChg>
        <pc:spChg chg="add mod">
          <ac:chgData name="Jackson Quinn" userId="f4787004-1b70-4f1d-97ed-cc65f8b67785" providerId="ADAL" clId="{6EEDA9EF-FC18-419A-9FD7-AAA3E5DC7D51}" dt="2024-09-10T03:48:10.085" v="1505" actId="13926"/>
          <ac:spMkLst>
            <pc:docMk/>
            <pc:sldMk cId="2127873239" sldId="2147471720"/>
            <ac:spMk id="21" creationId="{421411A5-AA64-1444-3AB1-0BADE1D57110}"/>
          </ac:spMkLst>
        </pc:spChg>
      </pc:sldChg>
      <pc:sldChg chg="modSp mod">
        <pc:chgData name="Jackson Quinn" userId="f4787004-1b70-4f1d-97ed-cc65f8b67785" providerId="ADAL" clId="{6EEDA9EF-FC18-419A-9FD7-AAA3E5DC7D51}" dt="2024-09-11T00:06:34.629" v="1657" actId="1076"/>
        <pc:sldMkLst>
          <pc:docMk/>
          <pc:sldMk cId="4165101680" sldId="2147471721"/>
        </pc:sldMkLst>
        <pc:spChg chg="mod">
          <ac:chgData name="Jackson Quinn" userId="f4787004-1b70-4f1d-97ed-cc65f8b67785" providerId="ADAL" clId="{6EEDA9EF-FC18-419A-9FD7-AAA3E5DC7D51}" dt="2024-09-11T00:06:29.413" v="1656" actId="20577"/>
          <ac:spMkLst>
            <pc:docMk/>
            <pc:sldMk cId="4165101680" sldId="2147471721"/>
            <ac:spMk id="2" creationId="{B068FAC4-4E35-4912-1E95-4C38FB047EE7}"/>
          </ac:spMkLst>
        </pc:spChg>
        <pc:spChg chg="mod">
          <ac:chgData name="Jackson Quinn" userId="f4787004-1b70-4f1d-97ed-cc65f8b67785" providerId="ADAL" clId="{6EEDA9EF-FC18-419A-9FD7-AAA3E5DC7D51}" dt="2024-09-10T03:48:15.120" v="1506" actId="13926"/>
          <ac:spMkLst>
            <pc:docMk/>
            <pc:sldMk cId="4165101680" sldId="2147471721"/>
            <ac:spMk id="3" creationId="{0B0E0EEE-AAF7-27D9-5453-D9B85663617E}"/>
          </ac:spMkLst>
        </pc:spChg>
        <pc:spChg chg="mod">
          <ac:chgData name="Jackson Quinn" userId="f4787004-1b70-4f1d-97ed-cc65f8b67785" providerId="ADAL" clId="{6EEDA9EF-FC18-419A-9FD7-AAA3E5DC7D51}" dt="2024-09-11T00:06:34.629" v="1657" actId="1076"/>
          <ac:spMkLst>
            <pc:docMk/>
            <pc:sldMk cId="4165101680" sldId="2147471721"/>
            <ac:spMk id="20" creationId="{7A42A8AD-BABD-EADA-56B7-64014EA8431A}"/>
          </ac:spMkLst>
        </pc:spChg>
        <pc:spChg chg="mod">
          <ac:chgData name="Jackson Quinn" userId="f4787004-1b70-4f1d-97ed-cc65f8b67785" providerId="ADAL" clId="{6EEDA9EF-FC18-419A-9FD7-AAA3E5DC7D51}" dt="2024-09-11T00:06:34.629" v="1657" actId="1076"/>
          <ac:spMkLst>
            <pc:docMk/>
            <pc:sldMk cId="4165101680" sldId="2147471721"/>
            <ac:spMk id="21" creationId="{FF1CA3F1-1E73-53A1-5364-F1887281FBEF}"/>
          </ac:spMkLst>
        </pc:spChg>
        <pc:spChg chg="mod">
          <ac:chgData name="Jackson Quinn" userId="f4787004-1b70-4f1d-97ed-cc65f8b67785" providerId="ADAL" clId="{6EEDA9EF-FC18-419A-9FD7-AAA3E5DC7D51}" dt="2024-09-11T00:06:34.629" v="1657" actId="1076"/>
          <ac:spMkLst>
            <pc:docMk/>
            <pc:sldMk cId="4165101680" sldId="2147471721"/>
            <ac:spMk id="22" creationId="{0F761120-0C3E-0CAF-5B64-EEAE9DEF49DF}"/>
          </ac:spMkLst>
        </pc:spChg>
        <pc:spChg chg="mod">
          <ac:chgData name="Jackson Quinn" userId="f4787004-1b70-4f1d-97ed-cc65f8b67785" providerId="ADAL" clId="{6EEDA9EF-FC18-419A-9FD7-AAA3E5DC7D51}" dt="2024-09-11T00:06:34.629" v="1657" actId="1076"/>
          <ac:spMkLst>
            <pc:docMk/>
            <pc:sldMk cId="4165101680" sldId="2147471721"/>
            <ac:spMk id="23" creationId="{C85CCD03-0A42-4C21-7F33-67213B43D22C}"/>
          </ac:spMkLst>
        </pc:spChg>
        <pc:spChg chg="mod">
          <ac:chgData name="Jackson Quinn" userId="f4787004-1b70-4f1d-97ed-cc65f8b67785" providerId="ADAL" clId="{6EEDA9EF-FC18-419A-9FD7-AAA3E5DC7D51}" dt="2024-09-11T00:06:34.629" v="1657" actId="1076"/>
          <ac:spMkLst>
            <pc:docMk/>
            <pc:sldMk cId="4165101680" sldId="2147471721"/>
            <ac:spMk id="26" creationId="{F92EAE17-E93F-168F-5F18-6737BA0E6426}"/>
          </ac:spMkLst>
        </pc:spChg>
        <pc:spChg chg="mod">
          <ac:chgData name="Jackson Quinn" userId="f4787004-1b70-4f1d-97ed-cc65f8b67785" providerId="ADAL" clId="{6EEDA9EF-FC18-419A-9FD7-AAA3E5DC7D51}" dt="2024-09-11T00:06:34.629" v="1657" actId="1076"/>
          <ac:spMkLst>
            <pc:docMk/>
            <pc:sldMk cId="4165101680" sldId="2147471721"/>
            <ac:spMk id="27" creationId="{06CC77FD-9B14-E8A8-B043-F85BC60E08EF}"/>
          </ac:spMkLst>
        </pc:spChg>
        <pc:spChg chg="mod">
          <ac:chgData name="Jackson Quinn" userId="f4787004-1b70-4f1d-97ed-cc65f8b67785" providerId="ADAL" clId="{6EEDA9EF-FC18-419A-9FD7-AAA3E5DC7D51}" dt="2024-09-11T00:06:34.629" v="1657" actId="1076"/>
          <ac:spMkLst>
            <pc:docMk/>
            <pc:sldMk cId="4165101680" sldId="2147471721"/>
            <ac:spMk id="28" creationId="{EA8C5319-6D7B-95E7-2ADD-14DCD6FEEA33}"/>
          </ac:spMkLst>
        </pc:spChg>
        <pc:spChg chg="mod">
          <ac:chgData name="Jackson Quinn" userId="f4787004-1b70-4f1d-97ed-cc65f8b67785" providerId="ADAL" clId="{6EEDA9EF-FC18-419A-9FD7-AAA3E5DC7D51}" dt="2024-09-11T00:06:34.629" v="1657" actId="1076"/>
          <ac:spMkLst>
            <pc:docMk/>
            <pc:sldMk cId="4165101680" sldId="2147471721"/>
            <ac:spMk id="29" creationId="{4903101E-3304-247B-E1C6-A7314A19039D}"/>
          </ac:spMkLst>
        </pc:spChg>
        <pc:spChg chg="mod">
          <ac:chgData name="Jackson Quinn" userId="f4787004-1b70-4f1d-97ed-cc65f8b67785" providerId="ADAL" clId="{6EEDA9EF-FC18-419A-9FD7-AAA3E5DC7D51}" dt="2024-09-11T00:06:34.629" v="1657" actId="1076"/>
          <ac:spMkLst>
            <pc:docMk/>
            <pc:sldMk cId="4165101680" sldId="2147471721"/>
            <ac:spMk id="30" creationId="{F29F341E-D3B8-DA0E-52D2-4F7D25F0EA05}"/>
          </ac:spMkLst>
        </pc:spChg>
        <pc:spChg chg="mod">
          <ac:chgData name="Jackson Quinn" userId="f4787004-1b70-4f1d-97ed-cc65f8b67785" providerId="ADAL" clId="{6EEDA9EF-FC18-419A-9FD7-AAA3E5DC7D51}" dt="2024-09-11T00:06:34.629" v="1657" actId="1076"/>
          <ac:spMkLst>
            <pc:docMk/>
            <pc:sldMk cId="4165101680" sldId="2147471721"/>
            <ac:spMk id="31" creationId="{12C7F34A-2CEE-2CB4-1467-D6DDAEAADC62}"/>
          </ac:spMkLst>
        </pc:spChg>
        <pc:spChg chg="mod">
          <ac:chgData name="Jackson Quinn" userId="f4787004-1b70-4f1d-97ed-cc65f8b67785" providerId="ADAL" clId="{6EEDA9EF-FC18-419A-9FD7-AAA3E5DC7D51}" dt="2024-09-11T00:06:34.629" v="1657" actId="1076"/>
          <ac:spMkLst>
            <pc:docMk/>
            <pc:sldMk cId="4165101680" sldId="2147471721"/>
            <ac:spMk id="35" creationId="{49EFDCBF-F896-D450-0922-9DC8E023EFFE}"/>
          </ac:spMkLst>
        </pc:spChg>
        <pc:spChg chg="mod">
          <ac:chgData name="Jackson Quinn" userId="f4787004-1b70-4f1d-97ed-cc65f8b67785" providerId="ADAL" clId="{6EEDA9EF-FC18-419A-9FD7-AAA3E5DC7D51}" dt="2024-09-11T00:06:34.629" v="1657" actId="1076"/>
          <ac:spMkLst>
            <pc:docMk/>
            <pc:sldMk cId="4165101680" sldId="2147471721"/>
            <ac:spMk id="36" creationId="{B287CEA6-5D96-252C-556F-C74BD80366A0}"/>
          </ac:spMkLst>
        </pc:spChg>
        <pc:spChg chg="mod">
          <ac:chgData name="Jackson Quinn" userId="f4787004-1b70-4f1d-97ed-cc65f8b67785" providerId="ADAL" clId="{6EEDA9EF-FC18-419A-9FD7-AAA3E5DC7D51}" dt="2024-09-11T00:06:34.629" v="1657" actId="1076"/>
          <ac:spMkLst>
            <pc:docMk/>
            <pc:sldMk cId="4165101680" sldId="2147471721"/>
            <ac:spMk id="37" creationId="{08410179-4094-4F2A-4EDF-93F593D12716}"/>
          </ac:spMkLst>
        </pc:spChg>
        <pc:spChg chg="mod">
          <ac:chgData name="Jackson Quinn" userId="f4787004-1b70-4f1d-97ed-cc65f8b67785" providerId="ADAL" clId="{6EEDA9EF-FC18-419A-9FD7-AAA3E5DC7D51}" dt="2024-09-11T00:06:34.629" v="1657" actId="1076"/>
          <ac:spMkLst>
            <pc:docMk/>
            <pc:sldMk cId="4165101680" sldId="2147471721"/>
            <ac:spMk id="38" creationId="{A04C4ACB-0E8C-076B-0D02-10F8E210107C}"/>
          </ac:spMkLst>
        </pc:spChg>
        <pc:spChg chg="mod">
          <ac:chgData name="Jackson Quinn" userId="f4787004-1b70-4f1d-97ed-cc65f8b67785" providerId="ADAL" clId="{6EEDA9EF-FC18-419A-9FD7-AAA3E5DC7D51}" dt="2024-09-11T00:06:34.629" v="1657" actId="1076"/>
          <ac:spMkLst>
            <pc:docMk/>
            <pc:sldMk cId="4165101680" sldId="2147471721"/>
            <ac:spMk id="39" creationId="{6688DEF4-7BDC-5E2F-04D6-A288B99CD8A2}"/>
          </ac:spMkLst>
        </pc:spChg>
        <pc:spChg chg="mod">
          <ac:chgData name="Jackson Quinn" userId="f4787004-1b70-4f1d-97ed-cc65f8b67785" providerId="ADAL" clId="{6EEDA9EF-FC18-419A-9FD7-AAA3E5DC7D51}" dt="2024-09-11T00:06:34.629" v="1657" actId="1076"/>
          <ac:spMkLst>
            <pc:docMk/>
            <pc:sldMk cId="4165101680" sldId="2147471721"/>
            <ac:spMk id="40" creationId="{99CA6905-A82F-1CC7-5FC5-9FA8949B3D8D}"/>
          </ac:spMkLst>
        </pc:spChg>
        <pc:grpChg chg="mod">
          <ac:chgData name="Jackson Quinn" userId="f4787004-1b70-4f1d-97ed-cc65f8b67785" providerId="ADAL" clId="{6EEDA9EF-FC18-419A-9FD7-AAA3E5DC7D51}" dt="2024-09-11T00:06:34.629" v="1657" actId="1076"/>
          <ac:grpSpMkLst>
            <pc:docMk/>
            <pc:sldMk cId="4165101680" sldId="2147471721"/>
            <ac:grpSpMk id="17" creationId="{C4E22C48-2903-27A6-4DEF-7A85B16C8C4E}"/>
          </ac:grpSpMkLst>
        </pc:grpChg>
        <pc:grpChg chg="mod">
          <ac:chgData name="Jackson Quinn" userId="f4787004-1b70-4f1d-97ed-cc65f8b67785" providerId="ADAL" clId="{6EEDA9EF-FC18-419A-9FD7-AAA3E5DC7D51}" dt="2024-09-11T00:06:34.629" v="1657" actId="1076"/>
          <ac:grpSpMkLst>
            <pc:docMk/>
            <pc:sldMk cId="4165101680" sldId="2147471721"/>
            <ac:grpSpMk id="18" creationId="{E0AD1541-E285-94C7-23A0-EC474AFAD8A9}"/>
          </ac:grpSpMkLst>
        </pc:grpChg>
        <pc:grpChg chg="mod">
          <ac:chgData name="Jackson Quinn" userId="f4787004-1b70-4f1d-97ed-cc65f8b67785" providerId="ADAL" clId="{6EEDA9EF-FC18-419A-9FD7-AAA3E5DC7D51}" dt="2024-09-11T00:06:34.629" v="1657" actId="1076"/>
          <ac:grpSpMkLst>
            <pc:docMk/>
            <pc:sldMk cId="4165101680" sldId="2147471721"/>
            <ac:grpSpMk id="19" creationId="{3DA3FCFD-E535-312A-DFA8-FD79F7A29E34}"/>
          </ac:grpSpMkLst>
        </pc:grpChg>
        <pc:grpChg chg="mod">
          <ac:chgData name="Jackson Quinn" userId="f4787004-1b70-4f1d-97ed-cc65f8b67785" providerId="ADAL" clId="{6EEDA9EF-FC18-419A-9FD7-AAA3E5DC7D51}" dt="2024-09-11T00:06:34.629" v="1657" actId="1076"/>
          <ac:grpSpMkLst>
            <pc:docMk/>
            <pc:sldMk cId="4165101680" sldId="2147471721"/>
            <ac:grpSpMk id="24" creationId="{30BDE3D0-F1DB-82E1-0186-9B22AC4B7C37}"/>
          </ac:grpSpMkLst>
        </pc:grpChg>
        <pc:grpChg chg="mod">
          <ac:chgData name="Jackson Quinn" userId="f4787004-1b70-4f1d-97ed-cc65f8b67785" providerId="ADAL" clId="{6EEDA9EF-FC18-419A-9FD7-AAA3E5DC7D51}" dt="2024-09-11T00:06:34.629" v="1657" actId="1076"/>
          <ac:grpSpMkLst>
            <pc:docMk/>
            <pc:sldMk cId="4165101680" sldId="2147471721"/>
            <ac:grpSpMk id="25" creationId="{AA74DF65-8B87-DF1A-EA05-ECFF5C79475C}"/>
          </ac:grpSpMkLst>
        </pc:grpChg>
        <pc:cxnChg chg="mod">
          <ac:chgData name="Jackson Quinn" userId="f4787004-1b70-4f1d-97ed-cc65f8b67785" providerId="ADAL" clId="{6EEDA9EF-FC18-419A-9FD7-AAA3E5DC7D51}" dt="2024-09-11T00:06:34.629" v="1657" actId="1076"/>
          <ac:cxnSpMkLst>
            <pc:docMk/>
            <pc:sldMk cId="4165101680" sldId="2147471721"/>
            <ac:cxnSpMk id="32" creationId="{A94E9A21-BF39-9BA3-7332-8DE776328A9B}"/>
          </ac:cxnSpMkLst>
        </pc:cxnChg>
        <pc:cxnChg chg="mod">
          <ac:chgData name="Jackson Quinn" userId="f4787004-1b70-4f1d-97ed-cc65f8b67785" providerId="ADAL" clId="{6EEDA9EF-FC18-419A-9FD7-AAA3E5DC7D51}" dt="2024-09-11T00:06:34.629" v="1657" actId="1076"/>
          <ac:cxnSpMkLst>
            <pc:docMk/>
            <pc:sldMk cId="4165101680" sldId="2147471721"/>
            <ac:cxnSpMk id="33" creationId="{EBB9C1C2-9DAF-EC4B-2F84-82379F7436B4}"/>
          </ac:cxnSpMkLst>
        </pc:cxnChg>
        <pc:cxnChg chg="mod">
          <ac:chgData name="Jackson Quinn" userId="f4787004-1b70-4f1d-97ed-cc65f8b67785" providerId="ADAL" clId="{6EEDA9EF-FC18-419A-9FD7-AAA3E5DC7D51}" dt="2024-09-11T00:06:34.629" v="1657" actId="1076"/>
          <ac:cxnSpMkLst>
            <pc:docMk/>
            <pc:sldMk cId="4165101680" sldId="2147471721"/>
            <ac:cxnSpMk id="34" creationId="{8B9521F7-35C8-2EFA-6E38-B16DEFAD1DC5}"/>
          </ac:cxnSpMkLst>
        </pc:cxnChg>
      </pc:sldChg>
      <pc:sldChg chg="modSp mod ord">
        <pc:chgData name="Jackson Quinn" userId="f4787004-1b70-4f1d-97ed-cc65f8b67785" providerId="ADAL" clId="{6EEDA9EF-FC18-419A-9FD7-AAA3E5DC7D51}" dt="2024-09-11T00:10:17.538" v="1659" actId="2711"/>
        <pc:sldMkLst>
          <pc:docMk/>
          <pc:sldMk cId="1668175224" sldId="2147471723"/>
        </pc:sldMkLst>
        <pc:spChg chg="mod">
          <ac:chgData name="Jackson Quinn" userId="f4787004-1b70-4f1d-97ed-cc65f8b67785" providerId="ADAL" clId="{6EEDA9EF-FC18-419A-9FD7-AAA3E5DC7D51}" dt="2024-09-10T03:28:34.469" v="891" actId="20577"/>
          <ac:spMkLst>
            <pc:docMk/>
            <pc:sldMk cId="1668175224" sldId="2147471723"/>
            <ac:spMk id="2" creationId="{B068FAC4-4E35-4912-1E95-4C38FB047EE7}"/>
          </ac:spMkLst>
        </pc:spChg>
        <pc:spChg chg="mod">
          <ac:chgData name="Jackson Quinn" userId="f4787004-1b70-4f1d-97ed-cc65f8b67785" providerId="ADAL" clId="{6EEDA9EF-FC18-419A-9FD7-AAA3E5DC7D51}" dt="2024-09-10T03:24:51.852" v="576" actId="20577"/>
          <ac:spMkLst>
            <pc:docMk/>
            <pc:sldMk cId="1668175224" sldId="2147471723"/>
            <ac:spMk id="3" creationId="{0B0E0EEE-AAF7-27D9-5453-D9B85663617E}"/>
          </ac:spMkLst>
        </pc:spChg>
        <pc:spChg chg="mod">
          <ac:chgData name="Jackson Quinn" userId="f4787004-1b70-4f1d-97ed-cc65f8b67785" providerId="ADAL" clId="{6EEDA9EF-FC18-419A-9FD7-AAA3E5DC7D51}" dt="2024-09-10T03:25:21.185" v="636" actId="20577"/>
          <ac:spMkLst>
            <pc:docMk/>
            <pc:sldMk cId="1668175224" sldId="2147471723"/>
            <ac:spMk id="13" creationId="{61BE3C32-8034-4687-1D00-57EAF0B18DB3}"/>
          </ac:spMkLst>
        </pc:spChg>
        <pc:spChg chg="mod">
          <ac:chgData name="Jackson Quinn" userId="f4787004-1b70-4f1d-97ed-cc65f8b67785" providerId="ADAL" clId="{6EEDA9EF-FC18-419A-9FD7-AAA3E5DC7D51}" dt="2024-09-10T03:25:06.835" v="584" actId="20577"/>
          <ac:spMkLst>
            <pc:docMk/>
            <pc:sldMk cId="1668175224" sldId="2147471723"/>
            <ac:spMk id="14" creationId="{4DC697DD-5A73-11C9-5FBE-43260260DF2E}"/>
          </ac:spMkLst>
        </pc:spChg>
        <pc:spChg chg="mod">
          <ac:chgData name="Jackson Quinn" userId="f4787004-1b70-4f1d-97ed-cc65f8b67785" providerId="ADAL" clId="{6EEDA9EF-FC18-419A-9FD7-AAA3E5DC7D51}" dt="2024-09-11T00:10:17.538" v="1659" actId="2711"/>
          <ac:spMkLst>
            <pc:docMk/>
            <pc:sldMk cId="1668175224" sldId="2147471723"/>
            <ac:spMk id="15" creationId="{83EA9ACB-7341-15D6-868A-7784DCD7AF48}"/>
          </ac:spMkLst>
        </pc:spChg>
      </pc:sldChg>
      <pc:sldChg chg="modSp mod">
        <pc:chgData name="Jackson Quinn" userId="f4787004-1b70-4f1d-97ed-cc65f8b67785" providerId="ADAL" clId="{6EEDA9EF-FC18-419A-9FD7-AAA3E5DC7D51}" dt="2024-09-11T00:11:40.935" v="1664" actId="14734"/>
        <pc:sldMkLst>
          <pc:docMk/>
          <pc:sldMk cId="2717348167" sldId="2147471724"/>
        </pc:sldMkLst>
        <pc:spChg chg="mod">
          <ac:chgData name="Jackson Quinn" userId="f4787004-1b70-4f1d-97ed-cc65f8b67785" providerId="ADAL" clId="{6EEDA9EF-FC18-419A-9FD7-AAA3E5DC7D51}" dt="2024-09-10T04:30:44.283" v="1616" actId="20577"/>
          <ac:spMkLst>
            <pc:docMk/>
            <pc:sldMk cId="2717348167" sldId="2147471724"/>
            <ac:spMk id="2" creationId="{B068FAC4-4E35-4912-1E95-4C38FB047EE7}"/>
          </ac:spMkLst>
        </pc:spChg>
        <pc:spChg chg="mod">
          <ac:chgData name="Jackson Quinn" userId="f4787004-1b70-4f1d-97ed-cc65f8b67785" providerId="ADAL" clId="{6EEDA9EF-FC18-419A-9FD7-AAA3E5DC7D51}" dt="2024-09-10T04:57:33.553" v="1617" actId="20577"/>
          <ac:spMkLst>
            <pc:docMk/>
            <pc:sldMk cId="2717348167" sldId="2147471724"/>
            <ac:spMk id="3" creationId="{0B0E0EEE-AAF7-27D9-5453-D9B85663617E}"/>
          </ac:spMkLst>
        </pc:spChg>
        <pc:graphicFrameChg chg="modGraphic">
          <ac:chgData name="Jackson Quinn" userId="f4787004-1b70-4f1d-97ed-cc65f8b67785" providerId="ADAL" clId="{6EEDA9EF-FC18-419A-9FD7-AAA3E5DC7D51}" dt="2024-09-11T00:11:40.935" v="1664" actId="14734"/>
          <ac:graphicFrameMkLst>
            <pc:docMk/>
            <pc:sldMk cId="2717348167" sldId="2147471724"/>
            <ac:graphicFrameMk id="4" creationId="{BD48924B-0496-CA2C-8D73-A47E59DB3E4C}"/>
          </ac:graphicFrameMkLst>
        </pc:graphicFrameChg>
      </pc:sldChg>
      <pc:sldChg chg="modSp mod">
        <pc:chgData name="Jackson Quinn" userId="f4787004-1b70-4f1d-97ed-cc65f8b67785" providerId="ADAL" clId="{6EEDA9EF-FC18-419A-9FD7-AAA3E5DC7D51}" dt="2024-09-10T05:04:25.069" v="1651" actId="20577"/>
        <pc:sldMkLst>
          <pc:docMk/>
          <pc:sldMk cId="30117967" sldId="2147471725"/>
        </pc:sldMkLst>
        <pc:spChg chg="mod">
          <ac:chgData name="Jackson Quinn" userId="f4787004-1b70-4f1d-97ed-cc65f8b67785" providerId="ADAL" clId="{6EEDA9EF-FC18-419A-9FD7-AAA3E5DC7D51}" dt="2024-09-10T05:04:25.069" v="1651" actId="20577"/>
          <ac:spMkLst>
            <pc:docMk/>
            <pc:sldMk cId="30117967" sldId="2147471725"/>
            <ac:spMk id="3" creationId="{140EC108-D5C9-3E4E-4D9B-4F09A8C4F2B4}"/>
          </ac:spMkLst>
        </pc:spChg>
      </pc:sldChg>
      <pc:sldChg chg="modSp mod ord">
        <pc:chgData name="Jackson Quinn" userId="f4787004-1b70-4f1d-97ed-cc65f8b67785" providerId="ADAL" clId="{6EEDA9EF-FC18-419A-9FD7-AAA3E5DC7D51}" dt="2024-09-11T00:10:28.885" v="1660" actId="2711"/>
        <pc:sldMkLst>
          <pc:docMk/>
          <pc:sldMk cId="1563573229" sldId="2147471726"/>
        </pc:sldMkLst>
        <pc:spChg chg="mod">
          <ac:chgData name="Jackson Quinn" userId="f4787004-1b70-4f1d-97ed-cc65f8b67785" providerId="ADAL" clId="{6EEDA9EF-FC18-419A-9FD7-AAA3E5DC7D51}" dt="2024-09-11T00:10:28.885" v="1660" actId="2711"/>
          <ac:spMkLst>
            <pc:docMk/>
            <pc:sldMk cId="1563573229" sldId="2147471726"/>
            <ac:spMk id="2" creationId="{B068FAC4-4E35-4912-1E95-4C38FB047EE7}"/>
          </ac:spMkLst>
        </pc:spChg>
        <pc:spChg chg="mod">
          <ac:chgData name="Jackson Quinn" userId="f4787004-1b70-4f1d-97ed-cc65f8b67785" providerId="ADAL" clId="{6EEDA9EF-FC18-419A-9FD7-AAA3E5DC7D51}" dt="2024-09-10T05:03:25.737" v="1647" actId="20577"/>
          <ac:spMkLst>
            <pc:docMk/>
            <pc:sldMk cId="1563573229" sldId="2147471726"/>
            <ac:spMk id="3" creationId="{0B0E0EEE-AAF7-27D9-5453-D9B85663617E}"/>
          </ac:spMkLst>
        </pc:spChg>
      </pc:sldChg>
      <pc:sldChg chg="addSp delSp modSp mod">
        <pc:chgData name="Jackson Quinn" userId="f4787004-1b70-4f1d-97ed-cc65f8b67785" providerId="ADAL" clId="{6EEDA9EF-FC18-419A-9FD7-AAA3E5DC7D51}" dt="2024-09-12T02:30:48.266" v="1674" actId="1076"/>
        <pc:sldMkLst>
          <pc:docMk/>
          <pc:sldMk cId="1299380938" sldId="2147471727"/>
        </pc:sldMkLst>
        <pc:spChg chg="mod">
          <ac:chgData name="Jackson Quinn" userId="f4787004-1b70-4f1d-97ed-cc65f8b67785" providerId="ADAL" clId="{6EEDA9EF-FC18-419A-9FD7-AAA3E5DC7D51}" dt="2024-09-10T04:57:38.736" v="1621" actId="20577"/>
          <ac:spMkLst>
            <pc:docMk/>
            <pc:sldMk cId="1299380938" sldId="2147471727"/>
            <ac:spMk id="3" creationId="{0B0E0EEE-AAF7-27D9-5453-D9B85663617E}"/>
          </ac:spMkLst>
        </pc:spChg>
        <pc:graphicFrameChg chg="add del mod modGraphic">
          <ac:chgData name="Jackson Quinn" userId="f4787004-1b70-4f1d-97ed-cc65f8b67785" providerId="ADAL" clId="{6EEDA9EF-FC18-419A-9FD7-AAA3E5DC7D51}" dt="2024-09-10T03:33:06.796" v="916" actId="478"/>
          <ac:graphicFrameMkLst>
            <pc:docMk/>
            <pc:sldMk cId="1299380938" sldId="2147471727"/>
            <ac:graphicFrameMk id="2" creationId="{D258C98C-F89C-268D-3762-6C4554C66C74}"/>
          </ac:graphicFrameMkLst>
        </pc:graphicFrameChg>
        <pc:graphicFrameChg chg="mod modGraphic">
          <ac:chgData name="Jackson Quinn" userId="f4787004-1b70-4f1d-97ed-cc65f8b67785" providerId="ADAL" clId="{6EEDA9EF-FC18-419A-9FD7-AAA3E5DC7D51}" dt="2024-09-12T02:30:48.266" v="1674" actId="1076"/>
          <ac:graphicFrameMkLst>
            <pc:docMk/>
            <pc:sldMk cId="1299380938" sldId="2147471727"/>
            <ac:graphicFrameMk id="4" creationId="{BD48924B-0496-CA2C-8D73-A47E59DB3E4C}"/>
          </ac:graphicFrameMkLst>
        </pc:graphicFrameChg>
      </pc:sldChg>
      <pc:sldChg chg="modSp mod">
        <pc:chgData name="Jackson Quinn" userId="f4787004-1b70-4f1d-97ed-cc65f8b67785" providerId="ADAL" clId="{6EEDA9EF-FC18-419A-9FD7-AAA3E5DC7D51}" dt="2024-09-11T00:11:23.782" v="1662" actId="13926"/>
        <pc:sldMkLst>
          <pc:docMk/>
          <pc:sldMk cId="4217258338" sldId="2147471728"/>
        </pc:sldMkLst>
        <pc:spChg chg="mod">
          <ac:chgData name="Jackson Quinn" userId="f4787004-1b70-4f1d-97ed-cc65f8b67785" providerId="ADAL" clId="{6EEDA9EF-FC18-419A-9FD7-AAA3E5DC7D51}" dt="2024-09-10T04:57:36.270" v="1619" actId="20577"/>
          <ac:spMkLst>
            <pc:docMk/>
            <pc:sldMk cId="4217258338" sldId="2147471728"/>
            <ac:spMk id="3" creationId="{0B0E0EEE-AAF7-27D9-5453-D9B85663617E}"/>
          </ac:spMkLst>
        </pc:spChg>
        <pc:graphicFrameChg chg="modGraphic">
          <ac:chgData name="Jackson Quinn" userId="f4787004-1b70-4f1d-97ed-cc65f8b67785" providerId="ADAL" clId="{6EEDA9EF-FC18-419A-9FD7-AAA3E5DC7D51}" dt="2024-09-11T00:11:23.782" v="1662" actId="13926"/>
          <ac:graphicFrameMkLst>
            <pc:docMk/>
            <pc:sldMk cId="4217258338" sldId="2147471728"/>
            <ac:graphicFrameMk id="6" creationId="{129DB33C-6526-9061-799C-1BAE977CA781}"/>
          </ac:graphicFrameMkLst>
        </pc:graphicFrameChg>
      </pc:sldChg>
      <pc:sldChg chg="addSp delSp modSp new mod">
        <pc:chgData name="Jackson Quinn" userId="f4787004-1b70-4f1d-97ed-cc65f8b67785" providerId="ADAL" clId="{6EEDA9EF-FC18-419A-9FD7-AAA3E5DC7D51}" dt="2024-09-11T00:01:51.238" v="1653" actId="1035"/>
        <pc:sldMkLst>
          <pc:docMk/>
          <pc:sldMk cId="3735286326" sldId="2147471729"/>
        </pc:sldMkLst>
        <pc:spChg chg="del">
          <ac:chgData name="Jackson Quinn" userId="f4787004-1b70-4f1d-97ed-cc65f8b67785" providerId="ADAL" clId="{6EEDA9EF-FC18-419A-9FD7-AAA3E5DC7D51}" dt="2024-09-10T02:50:07.596" v="225" actId="478"/>
          <ac:spMkLst>
            <pc:docMk/>
            <pc:sldMk cId="3735286326" sldId="2147471729"/>
            <ac:spMk id="2" creationId="{BBD96337-1D60-FE47-7FDB-52B76743F60D}"/>
          </ac:spMkLst>
        </pc:spChg>
        <pc:spChg chg="add mod">
          <ac:chgData name="Jackson Quinn" userId="f4787004-1b70-4f1d-97ed-cc65f8b67785" providerId="ADAL" clId="{6EEDA9EF-FC18-419A-9FD7-AAA3E5DC7D51}" dt="2024-09-10T02:50:09.213" v="226"/>
          <ac:spMkLst>
            <pc:docMk/>
            <pc:sldMk cId="3735286326" sldId="2147471729"/>
            <ac:spMk id="3" creationId="{03557D91-2EBE-9A9B-7BA0-F901A912382B}"/>
          </ac:spMkLst>
        </pc:spChg>
        <pc:spChg chg="mod">
          <ac:chgData name="Jackson Quinn" userId="f4787004-1b70-4f1d-97ed-cc65f8b67785" providerId="ADAL" clId="{6EEDA9EF-FC18-419A-9FD7-AAA3E5DC7D51}" dt="2024-09-11T00:01:51.238" v="1653" actId="1035"/>
          <ac:spMkLst>
            <pc:docMk/>
            <pc:sldMk cId="3735286326" sldId="2147471729"/>
            <ac:spMk id="5" creationId="{AEDCDA9C-AA5C-0EE9-2A19-B768B22EA235}"/>
          </ac:spMkLst>
        </pc:spChg>
        <pc:spChg chg="mod">
          <ac:chgData name="Jackson Quinn" userId="f4787004-1b70-4f1d-97ed-cc65f8b67785" providerId="ADAL" clId="{6EEDA9EF-FC18-419A-9FD7-AAA3E5DC7D51}" dt="2024-09-10T02:50:09.213" v="226"/>
          <ac:spMkLst>
            <pc:docMk/>
            <pc:sldMk cId="3735286326" sldId="2147471729"/>
            <ac:spMk id="6" creationId="{5E14F3BE-4A97-FA72-D36D-CCAD9E58D0AC}"/>
          </ac:spMkLst>
        </pc:spChg>
        <pc:spChg chg="mod">
          <ac:chgData name="Jackson Quinn" userId="f4787004-1b70-4f1d-97ed-cc65f8b67785" providerId="ADAL" clId="{6EEDA9EF-FC18-419A-9FD7-AAA3E5DC7D51}" dt="2024-09-10T02:50:09.213" v="226"/>
          <ac:spMkLst>
            <pc:docMk/>
            <pc:sldMk cId="3735286326" sldId="2147471729"/>
            <ac:spMk id="7" creationId="{EB05E67D-D648-B250-6232-79A27F44642D}"/>
          </ac:spMkLst>
        </pc:spChg>
        <pc:spChg chg="mod">
          <ac:chgData name="Jackson Quinn" userId="f4787004-1b70-4f1d-97ed-cc65f8b67785" providerId="ADAL" clId="{6EEDA9EF-FC18-419A-9FD7-AAA3E5DC7D51}" dt="2024-09-11T00:01:47.539" v="1652" actId="1035"/>
          <ac:spMkLst>
            <pc:docMk/>
            <pc:sldMk cId="3735286326" sldId="2147471729"/>
            <ac:spMk id="8" creationId="{956E2996-6D75-5F3D-06B8-703B3C6D69EA}"/>
          </ac:spMkLst>
        </pc:spChg>
        <pc:spChg chg="add mod">
          <ac:chgData name="Jackson Quinn" userId="f4787004-1b70-4f1d-97ed-cc65f8b67785" providerId="ADAL" clId="{6EEDA9EF-FC18-419A-9FD7-AAA3E5DC7D51}" dt="2024-09-10T02:50:09.213" v="226"/>
          <ac:spMkLst>
            <pc:docMk/>
            <pc:sldMk cId="3735286326" sldId="2147471729"/>
            <ac:spMk id="9" creationId="{EC7C2BED-2407-5028-C4AF-EF23897CE63F}"/>
          </ac:spMkLst>
        </pc:spChg>
        <pc:spChg chg="add mod">
          <ac:chgData name="Jackson Quinn" userId="f4787004-1b70-4f1d-97ed-cc65f8b67785" providerId="ADAL" clId="{6EEDA9EF-FC18-419A-9FD7-AAA3E5DC7D51}" dt="2024-09-10T02:50:09.213" v="226"/>
          <ac:spMkLst>
            <pc:docMk/>
            <pc:sldMk cId="3735286326" sldId="2147471729"/>
            <ac:spMk id="10" creationId="{943ECE6E-897E-B14C-3F86-EDF303FB621E}"/>
          </ac:spMkLst>
        </pc:spChg>
        <pc:grpChg chg="add mod">
          <ac:chgData name="Jackson Quinn" userId="f4787004-1b70-4f1d-97ed-cc65f8b67785" providerId="ADAL" clId="{6EEDA9EF-FC18-419A-9FD7-AAA3E5DC7D51}" dt="2024-09-10T02:50:09.213" v="226"/>
          <ac:grpSpMkLst>
            <pc:docMk/>
            <pc:sldMk cId="3735286326" sldId="2147471729"/>
            <ac:grpSpMk id="4" creationId="{FBF82247-58A5-7D2B-7F48-249373145B80}"/>
          </ac:grpSpMkLst>
        </pc:grpChg>
        <pc:picChg chg="add del mod">
          <ac:chgData name="Jackson Quinn" userId="f4787004-1b70-4f1d-97ed-cc65f8b67785" providerId="ADAL" clId="{6EEDA9EF-FC18-419A-9FD7-AAA3E5DC7D51}" dt="2024-09-10T02:50:42.906" v="228" actId="21"/>
          <ac:picMkLst>
            <pc:docMk/>
            <pc:sldMk cId="3735286326" sldId="2147471729"/>
            <ac:picMk id="11" creationId="{F9561050-3362-4438-16AB-CFAEBA37F032}"/>
          </ac:picMkLst>
        </pc:picChg>
        <pc:picChg chg="add mod">
          <ac:chgData name="Jackson Quinn" userId="f4787004-1b70-4f1d-97ed-cc65f8b67785" providerId="ADAL" clId="{6EEDA9EF-FC18-419A-9FD7-AAA3E5DC7D51}" dt="2024-09-10T02:52:24.363" v="253" actId="1076"/>
          <ac:picMkLst>
            <pc:docMk/>
            <pc:sldMk cId="3735286326" sldId="2147471729"/>
            <ac:picMk id="12" creationId="{F9561050-3362-4438-16AB-CFAEBA37F032}"/>
          </ac:picMkLst>
        </pc:picChg>
        <pc:picChg chg="add mod">
          <ac:chgData name="Jackson Quinn" userId="f4787004-1b70-4f1d-97ed-cc65f8b67785" providerId="ADAL" clId="{6EEDA9EF-FC18-419A-9FD7-AAA3E5DC7D51}" dt="2024-09-10T02:52:24.363" v="253" actId="1076"/>
          <ac:picMkLst>
            <pc:docMk/>
            <pc:sldMk cId="3735286326" sldId="2147471729"/>
            <ac:picMk id="13" creationId="{C0B9FF5C-3914-D030-907D-6FFB77FAB83A}"/>
          </ac:picMkLst>
        </pc:picChg>
      </pc:sldChg>
      <pc:sldChg chg="modSp add mod">
        <pc:chgData name="Jackson Quinn" userId="f4787004-1b70-4f1d-97ed-cc65f8b67785" providerId="ADAL" clId="{6EEDA9EF-FC18-419A-9FD7-AAA3E5DC7D51}" dt="2024-09-10T03:47:03.637" v="1502" actId="1035"/>
        <pc:sldMkLst>
          <pc:docMk/>
          <pc:sldMk cId="825503615" sldId="2147471730"/>
        </pc:sldMkLst>
        <pc:spChg chg="mod">
          <ac:chgData name="Jackson Quinn" userId="f4787004-1b70-4f1d-97ed-cc65f8b67785" providerId="ADAL" clId="{6EEDA9EF-FC18-419A-9FD7-AAA3E5DC7D51}" dt="2024-09-10T03:22:24.619" v="483" actId="20577"/>
          <ac:spMkLst>
            <pc:docMk/>
            <pc:sldMk cId="825503615" sldId="2147471730"/>
            <ac:spMk id="3" creationId="{70A675F7-CAF4-83EC-53BD-56B259073B05}"/>
          </ac:spMkLst>
        </pc:spChg>
        <pc:spChg chg="mod">
          <ac:chgData name="Jackson Quinn" userId="f4787004-1b70-4f1d-97ed-cc65f8b67785" providerId="ADAL" clId="{6EEDA9EF-FC18-419A-9FD7-AAA3E5DC7D51}" dt="2024-09-10T03:44:16.703" v="1267" actId="1036"/>
          <ac:spMkLst>
            <pc:docMk/>
            <pc:sldMk cId="825503615" sldId="2147471730"/>
            <ac:spMk id="4" creationId="{E3FDAD9A-A06A-5452-AC9C-A76FA8FA354D}"/>
          </ac:spMkLst>
        </pc:spChg>
        <pc:spChg chg="mod">
          <ac:chgData name="Jackson Quinn" userId="f4787004-1b70-4f1d-97ed-cc65f8b67785" providerId="ADAL" clId="{6EEDA9EF-FC18-419A-9FD7-AAA3E5DC7D51}" dt="2024-09-10T03:44:03.236" v="1246" actId="14100"/>
          <ac:spMkLst>
            <pc:docMk/>
            <pc:sldMk cId="825503615" sldId="2147471730"/>
            <ac:spMk id="6" creationId="{E1296918-AD6D-C9E2-9E46-991182C85F7C}"/>
          </ac:spMkLst>
        </pc:spChg>
        <pc:spChg chg="mod">
          <ac:chgData name="Jackson Quinn" userId="f4787004-1b70-4f1d-97ed-cc65f8b67785" providerId="ADAL" clId="{6EEDA9EF-FC18-419A-9FD7-AAA3E5DC7D51}" dt="2024-09-10T03:44:16.703" v="1267" actId="1036"/>
          <ac:spMkLst>
            <pc:docMk/>
            <pc:sldMk cId="825503615" sldId="2147471730"/>
            <ac:spMk id="7" creationId="{39E79785-8D7E-56E8-B788-31D66BDCF50F}"/>
          </ac:spMkLst>
        </pc:spChg>
        <pc:spChg chg="mod">
          <ac:chgData name="Jackson Quinn" userId="f4787004-1b70-4f1d-97ed-cc65f8b67785" providerId="ADAL" clId="{6EEDA9EF-FC18-419A-9FD7-AAA3E5DC7D51}" dt="2024-09-10T03:44:16.703" v="1267" actId="1036"/>
          <ac:spMkLst>
            <pc:docMk/>
            <pc:sldMk cId="825503615" sldId="2147471730"/>
            <ac:spMk id="8" creationId="{AFB56AB2-0243-6285-E066-0CF0698CE95F}"/>
          </ac:spMkLst>
        </pc:spChg>
        <pc:spChg chg="mod">
          <ac:chgData name="Jackson Quinn" userId="f4787004-1b70-4f1d-97ed-cc65f8b67785" providerId="ADAL" clId="{6EEDA9EF-FC18-419A-9FD7-AAA3E5DC7D51}" dt="2024-09-10T03:44:16.703" v="1267" actId="1036"/>
          <ac:spMkLst>
            <pc:docMk/>
            <pc:sldMk cId="825503615" sldId="2147471730"/>
            <ac:spMk id="9" creationId="{914A0820-BC18-B429-164F-182B24F51599}"/>
          </ac:spMkLst>
        </pc:spChg>
        <pc:spChg chg="mod">
          <ac:chgData name="Jackson Quinn" userId="f4787004-1b70-4f1d-97ed-cc65f8b67785" providerId="ADAL" clId="{6EEDA9EF-FC18-419A-9FD7-AAA3E5DC7D51}" dt="2024-09-10T03:44:16.703" v="1267" actId="1036"/>
          <ac:spMkLst>
            <pc:docMk/>
            <pc:sldMk cId="825503615" sldId="2147471730"/>
            <ac:spMk id="23" creationId="{0704EE71-6AC4-5712-F617-9465813A6CE1}"/>
          </ac:spMkLst>
        </pc:spChg>
        <pc:spChg chg="mod">
          <ac:chgData name="Jackson Quinn" userId="f4787004-1b70-4f1d-97ed-cc65f8b67785" providerId="ADAL" clId="{6EEDA9EF-FC18-419A-9FD7-AAA3E5DC7D51}" dt="2024-09-10T03:44:16.703" v="1267" actId="1036"/>
          <ac:spMkLst>
            <pc:docMk/>
            <pc:sldMk cId="825503615" sldId="2147471730"/>
            <ac:spMk id="24" creationId="{D6F70A59-5C08-2F9D-E93D-24C617E1D6E7}"/>
          </ac:spMkLst>
        </pc:spChg>
        <pc:spChg chg="mod">
          <ac:chgData name="Jackson Quinn" userId="f4787004-1b70-4f1d-97ed-cc65f8b67785" providerId="ADAL" clId="{6EEDA9EF-FC18-419A-9FD7-AAA3E5DC7D51}" dt="2024-09-10T03:44:16.703" v="1267" actId="1036"/>
          <ac:spMkLst>
            <pc:docMk/>
            <pc:sldMk cId="825503615" sldId="2147471730"/>
            <ac:spMk id="25" creationId="{A00A3C24-ACEB-4D04-3E0C-BC591089DF6D}"/>
          </ac:spMkLst>
        </pc:spChg>
        <pc:spChg chg="mod">
          <ac:chgData name="Jackson Quinn" userId="f4787004-1b70-4f1d-97ed-cc65f8b67785" providerId="ADAL" clId="{6EEDA9EF-FC18-419A-9FD7-AAA3E5DC7D51}" dt="2024-09-10T03:47:03.637" v="1502" actId="1035"/>
          <ac:spMkLst>
            <pc:docMk/>
            <pc:sldMk cId="825503615" sldId="2147471730"/>
            <ac:spMk id="27" creationId="{F6F1DC71-5700-BE1F-240E-8AD3A4B17FDB}"/>
          </ac:spMkLst>
        </pc:spChg>
        <pc:spChg chg="mod">
          <ac:chgData name="Jackson Quinn" userId="f4787004-1b70-4f1d-97ed-cc65f8b67785" providerId="ADAL" clId="{6EEDA9EF-FC18-419A-9FD7-AAA3E5DC7D51}" dt="2024-09-10T03:44:16.703" v="1267" actId="1036"/>
          <ac:spMkLst>
            <pc:docMk/>
            <pc:sldMk cId="825503615" sldId="2147471730"/>
            <ac:spMk id="29" creationId="{EEA34068-0CB3-783B-D34D-748ABB6A4DC0}"/>
          </ac:spMkLst>
        </pc:spChg>
        <pc:spChg chg="mod">
          <ac:chgData name="Jackson Quinn" userId="f4787004-1b70-4f1d-97ed-cc65f8b67785" providerId="ADAL" clId="{6EEDA9EF-FC18-419A-9FD7-AAA3E5DC7D51}" dt="2024-09-10T03:44:16.703" v="1267" actId="1036"/>
          <ac:spMkLst>
            <pc:docMk/>
            <pc:sldMk cId="825503615" sldId="2147471730"/>
            <ac:spMk id="37" creationId="{BFEE6266-3ADD-34FF-4E15-EF2B5379CF0E}"/>
          </ac:spMkLst>
        </pc:spChg>
        <pc:spChg chg="mod">
          <ac:chgData name="Jackson Quinn" userId="f4787004-1b70-4f1d-97ed-cc65f8b67785" providerId="ADAL" clId="{6EEDA9EF-FC18-419A-9FD7-AAA3E5DC7D51}" dt="2024-09-10T03:44:16.703" v="1267" actId="1036"/>
          <ac:spMkLst>
            <pc:docMk/>
            <pc:sldMk cId="825503615" sldId="2147471730"/>
            <ac:spMk id="38" creationId="{ED894B50-C744-8323-8AB2-8C1FDEAF7894}"/>
          </ac:spMkLst>
        </pc:spChg>
        <pc:spChg chg="mod">
          <ac:chgData name="Jackson Quinn" userId="f4787004-1b70-4f1d-97ed-cc65f8b67785" providerId="ADAL" clId="{6EEDA9EF-FC18-419A-9FD7-AAA3E5DC7D51}" dt="2024-09-10T03:46:50.371" v="1500" actId="20577"/>
          <ac:spMkLst>
            <pc:docMk/>
            <pc:sldMk cId="825503615" sldId="2147471730"/>
            <ac:spMk id="43" creationId="{E4BBEB7A-B70E-C2FB-D323-11ECD914BD2B}"/>
          </ac:spMkLst>
        </pc:spChg>
        <pc:spChg chg="mod">
          <ac:chgData name="Jackson Quinn" userId="f4787004-1b70-4f1d-97ed-cc65f8b67785" providerId="ADAL" clId="{6EEDA9EF-FC18-419A-9FD7-AAA3E5DC7D51}" dt="2024-09-10T03:46:41.436" v="1498"/>
          <ac:spMkLst>
            <pc:docMk/>
            <pc:sldMk cId="825503615" sldId="2147471730"/>
            <ac:spMk id="44" creationId="{9C43858B-5A97-3C3D-B6F8-AC63228C66E1}"/>
          </ac:spMkLst>
        </pc:spChg>
        <pc:spChg chg="mod">
          <ac:chgData name="Jackson Quinn" userId="f4787004-1b70-4f1d-97ed-cc65f8b67785" providerId="ADAL" clId="{6EEDA9EF-FC18-419A-9FD7-AAA3E5DC7D51}" dt="2024-09-10T03:46:55.370" v="1501" actId="20577"/>
          <ac:spMkLst>
            <pc:docMk/>
            <pc:sldMk cId="825503615" sldId="2147471730"/>
            <ac:spMk id="45" creationId="{47048286-AD81-DDD8-D2AA-100E287CDACB}"/>
          </ac:spMkLst>
        </pc:spChg>
        <pc:spChg chg="mod">
          <ac:chgData name="Jackson Quinn" userId="f4787004-1b70-4f1d-97ed-cc65f8b67785" providerId="ADAL" clId="{6EEDA9EF-FC18-419A-9FD7-AAA3E5DC7D51}" dt="2024-09-10T03:44:16.703" v="1267" actId="1036"/>
          <ac:spMkLst>
            <pc:docMk/>
            <pc:sldMk cId="825503615" sldId="2147471730"/>
            <ac:spMk id="46" creationId="{F35C4228-DD9B-96EE-0B02-E15C982AA04B}"/>
          </ac:spMkLst>
        </pc:spChg>
        <pc:spChg chg="mod">
          <ac:chgData name="Jackson Quinn" userId="f4787004-1b70-4f1d-97ed-cc65f8b67785" providerId="ADAL" clId="{6EEDA9EF-FC18-419A-9FD7-AAA3E5DC7D51}" dt="2024-09-10T03:44:16.703" v="1267" actId="1036"/>
          <ac:spMkLst>
            <pc:docMk/>
            <pc:sldMk cId="825503615" sldId="2147471730"/>
            <ac:spMk id="47" creationId="{3C3FD4E8-DA51-BDCC-9597-037FA2A24F08}"/>
          </ac:spMkLst>
        </pc:spChg>
        <pc:spChg chg="mod">
          <ac:chgData name="Jackson Quinn" userId="f4787004-1b70-4f1d-97ed-cc65f8b67785" providerId="ADAL" clId="{6EEDA9EF-FC18-419A-9FD7-AAA3E5DC7D51}" dt="2024-09-10T03:44:16.703" v="1267" actId="1036"/>
          <ac:spMkLst>
            <pc:docMk/>
            <pc:sldMk cId="825503615" sldId="2147471730"/>
            <ac:spMk id="48" creationId="{9C23D14E-F3B0-90AA-AE27-394933390466}"/>
          </ac:spMkLst>
        </pc:spChg>
        <pc:grpChg chg="mod">
          <ac:chgData name="Jackson Quinn" userId="f4787004-1b70-4f1d-97ed-cc65f8b67785" providerId="ADAL" clId="{6EEDA9EF-FC18-419A-9FD7-AAA3E5DC7D51}" dt="2024-09-10T03:44:16.703" v="1267" actId="1036"/>
          <ac:grpSpMkLst>
            <pc:docMk/>
            <pc:sldMk cId="825503615" sldId="2147471730"/>
            <ac:grpSpMk id="2" creationId="{1AAF0710-D2E7-C6C8-1445-17E572AA04F6}"/>
          </ac:grpSpMkLst>
        </pc:grpChg>
        <pc:grpChg chg="mod">
          <ac:chgData name="Jackson Quinn" userId="f4787004-1b70-4f1d-97ed-cc65f8b67785" providerId="ADAL" clId="{6EEDA9EF-FC18-419A-9FD7-AAA3E5DC7D51}" dt="2024-09-10T03:44:16.703" v="1267" actId="1036"/>
          <ac:grpSpMkLst>
            <pc:docMk/>
            <pc:sldMk cId="825503615" sldId="2147471730"/>
            <ac:grpSpMk id="10" creationId="{57440994-C176-5B18-EEFF-603A90DF48CC}"/>
          </ac:grpSpMkLst>
        </pc:grpChg>
        <pc:grpChg chg="mod">
          <ac:chgData name="Jackson Quinn" userId="f4787004-1b70-4f1d-97ed-cc65f8b67785" providerId="ADAL" clId="{6EEDA9EF-FC18-419A-9FD7-AAA3E5DC7D51}" dt="2024-09-10T03:44:16.703" v="1267" actId="1036"/>
          <ac:grpSpMkLst>
            <pc:docMk/>
            <pc:sldMk cId="825503615" sldId="2147471730"/>
            <ac:grpSpMk id="22" creationId="{9434D0D8-A858-B36E-9E45-E54EFF9914AF}"/>
          </ac:grpSpMkLst>
        </pc:grpChg>
        <pc:grpChg chg="mod">
          <ac:chgData name="Jackson Quinn" userId="f4787004-1b70-4f1d-97ed-cc65f8b67785" providerId="ADAL" clId="{6EEDA9EF-FC18-419A-9FD7-AAA3E5DC7D51}" dt="2024-09-10T03:44:16.703" v="1267" actId="1036"/>
          <ac:grpSpMkLst>
            <pc:docMk/>
            <pc:sldMk cId="825503615" sldId="2147471730"/>
            <ac:grpSpMk id="33" creationId="{49B164B3-1D0F-F092-974E-A4E1614E3E7B}"/>
          </ac:grpSpMkLst>
        </pc:grpChg>
        <pc:grpChg chg="mod">
          <ac:chgData name="Jackson Quinn" userId="f4787004-1b70-4f1d-97ed-cc65f8b67785" providerId="ADAL" clId="{6EEDA9EF-FC18-419A-9FD7-AAA3E5DC7D51}" dt="2024-09-10T03:44:16.703" v="1267" actId="1036"/>
          <ac:grpSpMkLst>
            <pc:docMk/>
            <pc:sldMk cId="825503615" sldId="2147471730"/>
            <ac:grpSpMk id="60" creationId="{2982EC5E-6597-1D97-3258-37B26C357946}"/>
          </ac:grpSpMkLst>
        </pc:grpChg>
        <pc:cxnChg chg="mod">
          <ac:chgData name="Jackson Quinn" userId="f4787004-1b70-4f1d-97ed-cc65f8b67785" providerId="ADAL" clId="{6EEDA9EF-FC18-419A-9FD7-AAA3E5DC7D51}" dt="2024-09-10T03:44:16.703" v="1267" actId="1036"/>
          <ac:cxnSpMkLst>
            <pc:docMk/>
            <pc:sldMk cId="825503615" sldId="2147471730"/>
            <ac:cxnSpMk id="54" creationId="{0CEAF42F-2C5C-D3FB-1984-565252F2AF23}"/>
          </ac:cxnSpMkLst>
        </pc:cxnChg>
        <pc:cxnChg chg="mod">
          <ac:chgData name="Jackson Quinn" userId="f4787004-1b70-4f1d-97ed-cc65f8b67785" providerId="ADAL" clId="{6EEDA9EF-FC18-419A-9FD7-AAA3E5DC7D51}" dt="2024-09-10T03:44:16.703" v="1267" actId="1036"/>
          <ac:cxnSpMkLst>
            <pc:docMk/>
            <pc:sldMk cId="825503615" sldId="2147471730"/>
            <ac:cxnSpMk id="55" creationId="{67388F11-638C-E9F7-03C0-CD9EF14BF0C1}"/>
          </ac:cxnSpMkLst>
        </pc:cxnChg>
        <pc:cxnChg chg="mod">
          <ac:chgData name="Jackson Quinn" userId="f4787004-1b70-4f1d-97ed-cc65f8b67785" providerId="ADAL" clId="{6EEDA9EF-FC18-419A-9FD7-AAA3E5DC7D51}" dt="2024-09-10T03:44:16.703" v="1267" actId="1036"/>
          <ac:cxnSpMkLst>
            <pc:docMk/>
            <pc:sldMk cId="825503615" sldId="2147471730"/>
            <ac:cxnSpMk id="56" creationId="{ECCE297F-DB78-B2A2-3AD0-ADF43083D6B1}"/>
          </ac:cxnSpMkLst>
        </pc:cxnChg>
      </pc:sldChg>
      <pc:sldChg chg="modSp new mod">
        <pc:chgData name="Jackson Quinn" userId="f4787004-1b70-4f1d-97ed-cc65f8b67785" providerId="ADAL" clId="{6EEDA9EF-FC18-419A-9FD7-AAA3E5DC7D51}" dt="2024-09-11T00:12:36.631" v="1670" actId="20577"/>
        <pc:sldMkLst>
          <pc:docMk/>
          <pc:sldMk cId="3245671790" sldId="2147471731"/>
        </pc:sldMkLst>
        <pc:spChg chg="mod">
          <ac:chgData name="Jackson Quinn" userId="f4787004-1b70-4f1d-97ed-cc65f8b67785" providerId="ADAL" clId="{6EEDA9EF-FC18-419A-9FD7-AAA3E5DC7D51}" dt="2024-09-11T00:12:36.631" v="1670" actId="20577"/>
          <ac:spMkLst>
            <pc:docMk/>
            <pc:sldMk cId="3245671790" sldId="2147471731"/>
            <ac:spMk id="2" creationId="{38277AC7-AA43-2B81-2D01-7EB17E127EB4}"/>
          </ac:spMkLst>
        </pc:spChg>
        <pc:spChg chg="mod">
          <ac:chgData name="Jackson Quinn" userId="f4787004-1b70-4f1d-97ed-cc65f8b67785" providerId="ADAL" clId="{6EEDA9EF-FC18-419A-9FD7-AAA3E5DC7D51}" dt="2024-09-10T04:58:28.003" v="1641" actId="13926"/>
          <ac:spMkLst>
            <pc:docMk/>
            <pc:sldMk cId="3245671790" sldId="2147471731"/>
            <ac:spMk id="3" creationId="{4E77C82B-A30D-BF76-21ED-64C8FB2A72C0}"/>
          </ac:spMkLst>
        </pc:spChg>
      </pc:sldChg>
      <pc:sldChg chg="new">
        <pc:chgData name="Jackson Quinn" userId="f4787004-1b70-4f1d-97ed-cc65f8b67785" providerId="ADAL" clId="{6EEDA9EF-FC18-419A-9FD7-AAA3E5DC7D51}" dt="2024-09-11T00:13:59.591" v="1671" actId="680"/>
        <pc:sldMkLst>
          <pc:docMk/>
          <pc:sldMk cId="1027081225" sldId="2147471732"/>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307047" cy="718423"/>
          </a:xfrm>
          <a:prstGeom prst="rect">
            <a:avLst/>
          </a:prstGeom>
        </p:spPr>
        <p:txBody>
          <a:bodyPr vert="horz" lIns="132725" tIns="66363" rIns="132725" bIns="66363" rtlCol="0"/>
          <a:lstStyle>
            <a:lvl1pPr algn="l">
              <a:defRPr sz="1700"/>
            </a:lvl1pPr>
          </a:lstStyle>
          <a:p>
            <a:endParaRPr lang="en-AU"/>
          </a:p>
        </p:txBody>
      </p:sp>
      <p:sp>
        <p:nvSpPr>
          <p:cNvPr id="3" name="Date Placeholder 2"/>
          <p:cNvSpPr>
            <a:spLocks noGrp="1"/>
          </p:cNvSpPr>
          <p:nvPr>
            <p:ph type="dt" sz="quarter" idx="1"/>
          </p:nvPr>
        </p:nvSpPr>
        <p:spPr>
          <a:xfrm>
            <a:off x="5629992" y="1"/>
            <a:ext cx="4307047" cy="718423"/>
          </a:xfrm>
          <a:prstGeom prst="rect">
            <a:avLst/>
          </a:prstGeom>
        </p:spPr>
        <p:txBody>
          <a:bodyPr vert="horz" lIns="132725" tIns="66363" rIns="132725" bIns="66363" rtlCol="0"/>
          <a:lstStyle>
            <a:lvl1pPr algn="r">
              <a:defRPr sz="1700"/>
            </a:lvl1pPr>
          </a:lstStyle>
          <a:p>
            <a:fld id="{49A2865F-B372-43D2-8255-7FA4007EBB59}" type="datetimeFigureOut">
              <a:rPr lang="en-AU" smtClean="0"/>
              <a:t>16/04/2025</a:t>
            </a:fld>
            <a:endParaRPr lang="en-AU"/>
          </a:p>
        </p:txBody>
      </p:sp>
      <p:sp>
        <p:nvSpPr>
          <p:cNvPr id="4" name="Footer Placeholder 3"/>
          <p:cNvSpPr>
            <a:spLocks noGrp="1"/>
          </p:cNvSpPr>
          <p:nvPr>
            <p:ph type="ftr" sz="quarter" idx="2"/>
          </p:nvPr>
        </p:nvSpPr>
        <p:spPr>
          <a:xfrm>
            <a:off x="1" y="13647547"/>
            <a:ext cx="4307047" cy="718423"/>
          </a:xfrm>
          <a:prstGeom prst="rect">
            <a:avLst/>
          </a:prstGeom>
        </p:spPr>
        <p:txBody>
          <a:bodyPr vert="horz" lIns="132725" tIns="66363" rIns="132725" bIns="66363" rtlCol="0" anchor="b"/>
          <a:lstStyle>
            <a:lvl1pPr algn="l">
              <a:defRPr sz="1700"/>
            </a:lvl1pPr>
          </a:lstStyle>
          <a:p>
            <a:endParaRPr lang="en-AU"/>
          </a:p>
        </p:txBody>
      </p:sp>
      <p:sp>
        <p:nvSpPr>
          <p:cNvPr id="5" name="Slide Number Placeholder 4"/>
          <p:cNvSpPr>
            <a:spLocks noGrp="1"/>
          </p:cNvSpPr>
          <p:nvPr>
            <p:ph type="sldNum" sz="quarter" idx="3"/>
          </p:nvPr>
        </p:nvSpPr>
        <p:spPr>
          <a:xfrm>
            <a:off x="5629992" y="13647547"/>
            <a:ext cx="4307047" cy="718423"/>
          </a:xfrm>
          <a:prstGeom prst="rect">
            <a:avLst/>
          </a:prstGeom>
        </p:spPr>
        <p:txBody>
          <a:bodyPr vert="horz" lIns="132725" tIns="66363" rIns="132725" bIns="66363" rtlCol="0" anchor="b"/>
          <a:lstStyle>
            <a:lvl1pPr algn="r">
              <a:defRPr sz="17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f sldNum="0" hdr="0" ftr="0" dt="0"/>
  <p:extLst>
    <p:ext uri="{56416CCD-93CA-4268-BC5B-53C4BB910035}">
      <p15:sldGuideLst xmlns:p15="http://schemas.microsoft.com/office/powerpoint/2012/main">
        <p15:guide id="1" orient="horz" pos="4526" userDrawn="1">
          <p15:clr>
            <a:srgbClr val="F26B43"/>
          </p15:clr>
        </p15:guide>
        <p15:guide id="2" pos="313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307047" cy="718423"/>
          </a:xfrm>
          <a:prstGeom prst="rect">
            <a:avLst/>
          </a:prstGeom>
        </p:spPr>
        <p:txBody>
          <a:bodyPr vert="horz" lIns="132725" tIns="66363" rIns="132725" bIns="66363" rtlCol="0"/>
          <a:lstStyle>
            <a:lvl1pPr algn="l" rtl="0">
              <a:defRPr sz="1700"/>
            </a:lvl1pPr>
          </a:lstStyle>
          <a:p>
            <a:endParaRPr lang="en-AU"/>
          </a:p>
        </p:txBody>
      </p:sp>
      <p:sp>
        <p:nvSpPr>
          <p:cNvPr id="3" name="Date Placeholder 2"/>
          <p:cNvSpPr>
            <a:spLocks noGrp="1"/>
          </p:cNvSpPr>
          <p:nvPr>
            <p:ph type="dt" idx="1"/>
          </p:nvPr>
        </p:nvSpPr>
        <p:spPr>
          <a:xfrm>
            <a:off x="5629992" y="1"/>
            <a:ext cx="4307047" cy="718423"/>
          </a:xfrm>
          <a:prstGeom prst="rect">
            <a:avLst/>
          </a:prstGeom>
        </p:spPr>
        <p:txBody>
          <a:bodyPr vert="horz" lIns="132725" tIns="66363" rIns="132725" bIns="66363" rtlCol="0"/>
          <a:lstStyle>
            <a:lvl1pPr algn="r" rtl="0">
              <a:defRPr sz="1700"/>
            </a:lvl1pPr>
          </a:lstStyle>
          <a:p>
            <a:fld id="{0834D938-244D-4739-949C-2C3FCC68DC46}" type="datetimeFigureOut">
              <a:rPr lang="en-AU" smtClean="0"/>
              <a:pPr/>
              <a:t>16/04/2025</a:t>
            </a:fld>
            <a:endParaRPr lang="en-AU"/>
          </a:p>
        </p:txBody>
      </p:sp>
      <p:sp>
        <p:nvSpPr>
          <p:cNvPr id="4" name="Slide Image Placeholder 3"/>
          <p:cNvSpPr>
            <a:spLocks noGrp="1" noRot="1" noChangeAspect="1"/>
          </p:cNvSpPr>
          <p:nvPr>
            <p:ph type="sldImg" idx="2"/>
          </p:nvPr>
        </p:nvSpPr>
        <p:spPr>
          <a:xfrm>
            <a:off x="1079500" y="1077913"/>
            <a:ext cx="7780338" cy="5386387"/>
          </a:xfrm>
          <a:prstGeom prst="rect">
            <a:avLst/>
          </a:prstGeom>
          <a:noFill/>
          <a:ln w="12700">
            <a:solidFill>
              <a:prstClr val="black"/>
            </a:solidFill>
          </a:ln>
        </p:spPr>
        <p:txBody>
          <a:bodyPr vert="horz" lIns="132725" tIns="66363" rIns="132725" bIns="66363" rtlCol="0" anchor="ctr"/>
          <a:lstStyle/>
          <a:p>
            <a:endParaRPr lang="en-AU"/>
          </a:p>
        </p:txBody>
      </p:sp>
      <p:sp>
        <p:nvSpPr>
          <p:cNvPr id="5" name="Notes Placeholder 4"/>
          <p:cNvSpPr>
            <a:spLocks noGrp="1"/>
          </p:cNvSpPr>
          <p:nvPr>
            <p:ph type="body" sz="quarter" idx="3"/>
          </p:nvPr>
        </p:nvSpPr>
        <p:spPr>
          <a:xfrm>
            <a:off x="993934" y="6825021"/>
            <a:ext cx="7951470" cy="6465808"/>
          </a:xfrm>
          <a:prstGeom prst="rect">
            <a:avLst/>
          </a:prstGeom>
        </p:spPr>
        <p:txBody>
          <a:bodyPr vert="horz" lIns="132725" tIns="66363" rIns="132725" bIns="66363"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Footer Placeholder 5"/>
          <p:cNvSpPr>
            <a:spLocks noGrp="1"/>
          </p:cNvSpPr>
          <p:nvPr>
            <p:ph type="ftr" sz="quarter" idx="4"/>
          </p:nvPr>
        </p:nvSpPr>
        <p:spPr>
          <a:xfrm>
            <a:off x="1" y="13647547"/>
            <a:ext cx="4307047" cy="718423"/>
          </a:xfrm>
          <a:prstGeom prst="rect">
            <a:avLst/>
          </a:prstGeom>
        </p:spPr>
        <p:txBody>
          <a:bodyPr vert="horz" lIns="132725" tIns="66363" rIns="132725" bIns="66363" rtlCol="0" anchor="b"/>
          <a:lstStyle>
            <a:lvl1pPr algn="l" rtl="0">
              <a:defRPr sz="1700"/>
            </a:lvl1pPr>
          </a:lstStyle>
          <a:p>
            <a:endParaRPr lang="en-AU"/>
          </a:p>
        </p:txBody>
      </p:sp>
      <p:sp>
        <p:nvSpPr>
          <p:cNvPr id="7" name="Slide Number Placeholder 6"/>
          <p:cNvSpPr>
            <a:spLocks noGrp="1"/>
          </p:cNvSpPr>
          <p:nvPr>
            <p:ph type="sldNum" sz="quarter" idx="5"/>
          </p:nvPr>
        </p:nvSpPr>
        <p:spPr>
          <a:xfrm>
            <a:off x="5629992" y="13647547"/>
            <a:ext cx="4307047" cy="718423"/>
          </a:xfrm>
          <a:prstGeom prst="rect">
            <a:avLst/>
          </a:prstGeom>
        </p:spPr>
        <p:txBody>
          <a:bodyPr vert="horz" lIns="132725" tIns="66363" rIns="132725" bIns="66363" rtlCol="0" anchor="b"/>
          <a:lstStyle>
            <a:lvl1pPr algn="r" rtl="0">
              <a:defRPr sz="1700"/>
            </a:lvl1pPr>
          </a:lstStyle>
          <a:p>
            <a:fld id="{4E2C0CB5-59E8-4F90-B170-7BD09AD757BA}" type="slidenum">
              <a:rPr lang="en-AU" smtClean="0"/>
              <a:pPr/>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hf sldNum="0" hdr="0" ftr="0" dt="0"/>
  <p:notesStyle>
    <a:lvl1pPr marL="0" algn="l" defTabSz="914349" rtl="0" eaLnBrk="1" latinLnBrk="0" hangingPunct="1">
      <a:defRPr sz="1200" kern="1200">
        <a:solidFill>
          <a:schemeClr val="tx1"/>
        </a:solidFill>
        <a:latin typeface="+mn-lt"/>
        <a:ea typeface="+mn-ea"/>
        <a:cs typeface="+mn-cs"/>
      </a:defRPr>
    </a:lvl1pPr>
    <a:lvl2pPr marL="457174" algn="l" defTabSz="914349" rtl="0" eaLnBrk="1" latinLnBrk="0" hangingPunct="1">
      <a:defRPr sz="1200" kern="1200">
        <a:solidFill>
          <a:schemeClr val="tx1"/>
        </a:solidFill>
        <a:latin typeface="+mn-lt"/>
        <a:ea typeface="+mn-ea"/>
        <a:cs typeface="+mn-cs"/>
      </a:defRPr>
    </a:lvl2pPr>
    <a:lvl3pPr marL="914349" algn="l" defTabSz="914349" rtl="0" eaLnBrk="1" latinLnBrk="0" hangingPunct="1">
      <a:defRPr sz="1200" kern="1200">
        <a:solidFill>
          <a:schemeClr val="tx1"/>
        </a:solidFill>
        <a:latin typeface="+mn-lt"/>
        <a:ea typeface="+mn-ea"/>
        <a:cs typeface="+mn-cs"/>
      </a:defRPr>
    </a:lvl3pPr>
    <a:lvl4pPr marL="1371523" algn="l" defTabSz="914349" rtl="0" eaLnBrk="1" latinLnBrk="0" hangingPunct="1">
      <a:defRPr sz="1200" kern="1200">
        <a:solidFill>
          <a:schemeClr val="tx1"/>
        </a:solidFill>
        <a:latin typeface="+mn-lt"/>
        <a:ea typeface="+mn-ea"/>
        <a:cs typeface="+mn-cs"/>
      </a:defRPr>
    </a:lvl4pPr>
    <a:lvl5pPr marL="1828697" algn="l" defTabSz="914349" rtl="0" eaLnBrk="1" latinLnBrk="0" hangingPunct="1">
      <a:defRPr sz="1200" kern="1200">
        <a:solidFill>
          <a:schemeClr val="tx1"/>
        </a:solidFill>
        <a:latin typeface="+mn-lt"/>
        <a:ea typeface="+mn-ea"/>
        <a:cs typeface="+mn-cs"/>
      </a:defRPr>
    </a:lvl5pPr>
    <a:lvl6pPr marL="2285872" algn="l" defTabSz="914349" rtl="0" eaLnBrk="1" latinLnBrk="0" hangingPunct="1">
      <a:defRPr sz="1200" kern="1200">
        <a:solidFill>
          <a:schemeClr val="tx1"/>
        </a:solidFill>
        <a:latin typeface="+mn-lt"/>
        <a:ea typeface="+mn-ea"/>
        <a:cs typeface="+mn-cs"/>
      </a:defRPr>
    </a:lvl6pPr>
    <a:lvl7pPr marL="2743046" algn="l" defTabSz="914349" rtl="0" eaLnBrk="1" latinLnBrk="0" hangingPunct="1">
      <a:defRPr sz="1200" kern="1200">
        <a:solidFill>
          <a:schemeClr val="tx1"/>
        </a:solidFill>
        <a:latin typeface="+mn-lt"/>
        <a:ea typeface="+mn-ea"/>
        <a:cs typeface="+mn-cs"/>
      </a:defRPr>
    </a:lvl7pPr>
    <a:lvl8pPr marL="3200221" algn="l" defTabSz="914349" rtl="0" eaLnBrk="1" latinLnBrk="0" hangingPunct="1">
      <a:defRPr sz="1200" kern="1200">
        <a:solidFill>
          <a:schemeClr val="tx1"/>
        </a:solidFill>
        <a:latin typeface="+mn-lt"/>
        <a:ea typeface="+mn-ea"/>
        <a:cs typeface="+mn-cs"/>
      </a:defRPr>
    </a:lvl8pPr>
    <a:lvl9pPr marL="3657395" algn="l" defTabSz="91434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818503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2764403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9241408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406303191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1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1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12.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13.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14.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5.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6.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7.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8.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9.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20.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21.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22.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hemeOverride" Target="../theme/themeOverride23.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hemeOverride" Target="../theme/themeOverride24.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hemeOverride" Target="../theme/themeOverride25.x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hemeOverride" Target="../theme/themeOverride26.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hemeOverride" Target="../theme/themeOverride27.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hemeOverride" Target="../theme/themeOverride28.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hemeOverride" Target="../theme/themeOverride29.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3.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hemeOverride" Target="../theme/themeOverride30.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hemeOverride" Target="../theme/themeOverride31.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hemeOverride" Target="../theme/themeOverride32.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hemeOverride" Target="../theme/themeOverride33.x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7.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9.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C30854-A257-2DD7-1C2E-2F6BBDA692BC}"/>
              </a:ext>
            </a:extLst>
          </p:cNvPr>
          <p:cNvGraphicFramePr>
            <a:graphicFrameLocks noChangeAspect="1"/>
          </p:cNvGraphicFramePr>
          <p:nvPr userDrawn="1">
            <p:custDataLst>
              <p:tags r:id="rId2"/>
            </p:custDataLst>
            <p:extLst>
              <p:ext uri="{D42A27DB-BD31-4B8C-83A1-F6EECF244321}">
                <p14:modId xmlns:p14="http://schemas.microsoft.com/office/powerpoint/2010/main" val="40515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3BC30854-A257-2DD7-1C2E-2F6BBDA692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697417" y="6329118"/>
            <a:ext cx="984655" cy="269121"/>
          </a:xfrm>
          <a:prstGeom prst="rect">
            <a:avLst/>
          </a:prstGeom>
        </p:spPr>
      </p:pic>
      <p:sp>
        <p:nvSpPr>
          <p:cNvPr id="8" name="Text Placeholder 10"/>
          <p:cNvSpPr>
            <a:spLocks noGrp="1"/>
          </p:cNvSpPr>
          <p:nvPr>
            <p:ph type="body" sz="quarter" idx="10" hasCustomPrompt="1"/>
          </p:nvPr>
        </p:nvSpPr>
        <p:spPr>
          <a:xfrm>
            <a:off x="540000" y="3716363"/>
            <a:ext cx="7618023" cy="1080790"/>
          </a:xfrm>
        </p:spPr>
        <p:txBody>
          <a:bodyPr anchor="b" anchorCtr="0"/>
          <a:lstStyle>
            <a:lvl1pPr rtl="0">
              <a:defRPr sz="3200">
                <a:solidFill>
                  <a:schemeClr val="bg1"/>
                </a:solidFill>
                <a:latin typeface="Segoe UI Semibold" panose="020B0702040204020203" pitchFamily="34" charset="0"/>
              </a:defRPr>
            </a:lvl1pPr>
            <a:lvl5pPr>
              <a:defRPr/>
            </a:lvl5pPr>
          </a:lstStyle>
          <a:p>
            <a:pPr lvl="0"/>
            <a:r>
              <a:rPr lang="en-AU" noProof="0"/>
              <a:t>Title</a:t>
            </a:r>
          </a:p>
        </p:txBody>
      </p:sp>
      <p:sp>
        <p:nvSpPr>
          <p:cNvPr id="9" name="Text Placeholder 13"/>
          <p:cNvSpPr>
            <a:spLocks noGrp="1"/>
          </p:cNvSpPr>
          <p:nvPr>
            <p:ph type="body" sz="quarter" idx="11" hasCustomPrompt="1"/>
          </p:nvPr>
        </p:nvSpPr>
        <p:spPr>
          <a:xfrm>
            <a:off x="540000" y="4941912"/>
            <a:ext cx="7618023" cy="503312"/>
          </a:xfrm>
        </p:spPr>
        <p:txBody>
          <a:bodyPr/>
          <a:lstStyle>
            <a:lvl1pPr rtl="0">
              <a:spcBef>
                <a:spcPts val="1200"/>
              </a:spcBef>
              <a:defRPr sz="1400"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AU" noProof="0"/>
              <a:t>Sub Title</a:t>
            </a:r>
          </a:p>
        </p:txBody>
      </p:sp>
      <p:sp>
        <p:nvSpPr>
          <p:cNvPr id="3" name="Rectangle 2">
            <a:extLst>
              <a:ext uri="{FF2B5EF4-FFF2-40B4-BE49-F238E27FC236}">
                <a16:creationId xmlns:a16="http://schemas.microsoft.com/office/drawing/2014/main" id="{32683308-65A6-28A4-A0A9-1B724B09DED2}"/>
              </a:ext>
            </a:extLst>
          </p:cNvPr>
          <p:cNvSpPr/>
          <p:nvPr userDrawn="1"/>
        </p:nvSpPr>
        <p:spPr>
          <a:xfrm>
            <a:off x="0" y="0"/>
            <a:ext cx="9906000" cy="68642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pic>
        <p:nvPicPr>
          <p:cNvPr id="4" name="BRV logo">
            <a:extLst>
              <a:ext uri="{FF2B5EF4-FFF2-40B4-BE49-F238E27FC236}">
                <a16:creationId xmlns:a16="http://schemas.microsoft.com/office/drawing/2014/main" id="{B599529A-E0E3-770E-836B-A48EE48FC415}"/>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7339263" y="520108"/>
            <a:ext cx="2037076" cy="466149"/>
          </a:xfrm>
          <a:prstGeom prst="rect">
            <a:avLst/>
          </a:prstGeom>
        </p:spPr>
      </p:pic>
      <p:grpSp>
        <p:nvGrpSpPr>
          <p:cNvPr id="5" name="Graphic elements">
            <a:extLst>
              <a:ext uri="{FF2B5EF4-FFF2-40B4-BE49-F238E27FC236}">
                <a16:creationId xmlns:a16="http://schemas.microsoft.com/office/drawing/2014/main" id="{F9E7F78A-5C95-F73C-ECF0-FFFEC354E0F0}"/>
              </a:ext>
            </a:extLst>
          </p:cNvPr>
          <p:cNvGrpSpPr/>
          <p:nvPr userDrawn="1"/>
        </p:nvGrpSpPr>
        <p:grpSpPr>
          <a:xfrm>
            <a:off x="4476466" y="4141423"/>
            <a:ext cx="5433545" cy="2722837"/>
            <a:chOff x="3535488" y="2524125"/>
            <a:chExt cx="8643185" cy="4331239"/>
          </a:xfrm>
        </p:grpSpPr>
        <p:sp>
          <p:nvSpPr>
            <p:cNvPr id="6" name="Freeform: Shape 5">
              <a:extLst>
                <a:ext uri="{FF2B5EF4-FFF2-40B4-BE49-F238E27FC236}">
                  <a16:creationId xmlns:a16="http://schemas.microsoft.com/office/drawing/2014/main" id="{05824E34-D0FC-9491-0243-B03AB922554F}"/>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B87960DC-B9DD-6B99-4B94-AC91001D66E4}"/>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4" name="Freeform: Shape 13">
              <a:extLst>
                <a:ext uri="{FF2B5EF4-FFF2-40B4-BE49-F238E27FC236}">
                  <a16:creationId xmlns:a16="http://schemas.microsoft.com/office/drawing/2014/main" id="{03FE688D-FDE6-3B1A-CD58-C3F5DCF77C58}"/>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05526B31-ACD4-2AC4-1958-5BC19FF85D07}"/>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pic>
        <p:nvPicPr>
          <p:cNvPr id="16" name="DTF logo">
            <a:extLst>
              <a:ext uri="{FF2B5EF4-FFF2-40B4-BE49-F238E27FC236}">
                <a16:creationId xmlns:a16="http://schemas.microsoft.com/office/drawing/2014/main" id="{791E803A-FC8C-A7D8-4A5E-0C77AD75FD58}"/>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0000" y="5860032"/>
            <a:ext cx="993370" cy="568841"/>
          </a:xfrm>
          <a:prstGeom prst="rect">
            <a:avLst/>
          </a:prstGeom>
        </p:spPr>
      </p:pic>
    </p:spTree>
    <p:extLst>
      <p:ext uri="{BB962C8B-B14F-4D97-AF65-F5344CB8AC3E}">
        <p14:creationId xmlns:p14="http://schemas.microsoft.com/office/powerpoint/2010/main" val="447419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9" name="Text Placeholder 4">
            <a:extLst>
              <a:ext uri="{FF2B5EF4-FFF2-40B4-BE49-F238E27FC236}">
                <a16:creationId xmlns:a16="http://schemas.microsoft.com/office/drawing/2014/main" id="{B665DBF6-7AAE-A506-B5F9-21DF72C8DEDB}"/>
              </a:ext>
            </a:extLst>
          </p:cNvPr>
          <p:cNvSpPr txBox="1">
            <a:spLocks/>
          </p:cNvSpPr>
          <p:nvPr userDrawn="1"/>
        </p:nvSpPr>
        <p:spPr>
          <a:xfrm>
            <a:off x="0" y="1931159"/>
            <a:ext cx="9906000" cy="4384982"/>
          </a:xfrm>
          <a:prstGeom prst="rect">
            <a:avLst/>
          </a:prstGeom>
          <a:solidFill>
            <a:srgbClr val="FFFFFF">
              <a:alpha val="45098"/>
            </a:srgbClr>
          </a:solidFill>
          <a:ln w="19050">
            <a:noFill/>
          </a:ln>
        </p:spPr>
        <p:txBody>
          <a:bodyPr lIns="144000" tIns="144000" rIns="144000" bIns="180000"/>
          <a:lstStyle>
            <a:lvl1pPr marL="0" indent="0" algn="l" defTabSz="914349" rtl="0" eaLnBrk="1" latinLnBrk="0" hangingPunct="1">
              <a:spcBef>
                <a:spcPts val="1200"/>
              </a:spcBef>
              <a:buFont typeface="Arial" pitchFamily="34" charset="0"/>
              <a:buNone/>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396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72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008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lnSpc>
                <a:spcPct val="90000"/>
              </a:lnSpc>
              <a:spcBef>
                <a:spcPts val="0"/>
              </a:spcBef>
              <a:spcAft>
                <a:spcPts val="600"/>
              </a:spcAft>
            </a:pPr>
            <a:endParaRPr lang="en-AU" sz="1300">
              <a:solidFill>
                <a:schemeClr val="accent2"/>
              </a:solidFill>
              <a:latin typeface="Segoe UI Semibold"/>
              <a:ea typeface="+mn-ea"/>
              <a:cs typeface="+mn-cs"/>
            </a:endParaRPr>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5EDE3AF-13DD-F19D-F565-B74EF943D8D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30F5BB03-D59B-B8B9-896A-5693EDBAC8D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0" name="Graphic elements">
            <a:extLst>
              <a:ext uri="{FF2B5EF4-FFF2-40B4-BE49-F238E27FC236}">
                <a16:creationId xmlns:a16="http://schemas.microsoft.com/office/drawing/2014/main" id="{251FFF93-82A1-1679-6D19-B28FED7B6E95}"/>
              </a:ext>
            </a:extLst>
          </p:cNvPr>
          <p:cNvGrpSpPr/>
          <p:nvPr userDrawn="1"/>
        </p:nvGrpSpPr>
        <p:grpSpPr>
          <a:xfrm>
            <a:off x="8355768" y="6080215"/>
            <a:ext cx="1555548" cy="777785"/>
            <a:chOff x="3532313" y="2524125"/>
            <a:chExt cx="8656007" cy="4328064"/>
          </a:xfrm>
        </p:grpSpPr>
        <p:sp>
          <p:nvSpPr>
            <p:cNvPr id="11" name="Freeform: Shape 10">
              <a:extLst>
                <a:ext uri="{FF2B5EF4-FFF2-40B4-BE49-F238E27FC236}">
                  <a16:creationId xmlns:a16="http://schemas.microsoft.com/office/drawing/2014/main" id="{CC46F6C4-9554-4B1D-392E-48CDA979C541}"/>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2" name="Freeform: Shape 11">
              <a:extLst>
                <a:ext uri="{FF2B5EF4-FFF2-40B4-BE49-F238E27FC236}">
                  <a16:creationId xmlns:a16="http://schemas.microsoft.com/office/drawing/2014/main" id="{CCA781E1-EDB8-CC63-1943-51585AB94F2B}"/>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B5FD490-0705-BEE2-80B7-85662165316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4F0CE133-BF48-5FE1-2327-34919DCE68EB}"/>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0" name="Slide Number Placeholder 5">
            <a:extLst>
              <a:ext uri="{FF2B5EF4-FFF2-40B4-BE49-F238E27FC236}">
                <a16:creationId xmlns:a16="http://schemas.microsoft.com/office/drawing/2014/main" id="{F49CB82E-7DC8-BF31-1574-0A0282312039}"/>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9685484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aybook_backgroun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3"/>
            <a:ext cx="9906000" cy="57332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362241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40000" y="5824215"/>
            <a:ext cx="8824914"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40000" y="1267969"/>
            <a:ext cx="8824914"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itle 1">
            <a:extLst>
              <a:ext uri="{FF2B5EF4-FFF2-40B4-BE49-F238E27FC236}">
                <a16:creationId xmlns:a16="http://schemas.microsoft.com/office/drawing/2014/main" id="{23FAD20B-2FD2-D024-DD2C-7BC8BD1548C4}"/>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Tree>
    <p:extLst>
      <p:ext uri="{BB962C8B-B14F-4D97-AF65-F5344CB8AC3E}">
        <p14:creationId xmlns:p14="http://schemas.microsoft.com/office/powerpoint/2010/main" val="4367441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with title_contents head">
    <p:bg>
      <p:bgRef idx="1001">
        <a:schemeClr val="bg1"/>
      </p:bgRef>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1"/>
                </a:solidFill>
                <a:latin typeface="+mj-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j-lt"/>
                <a:cs typeface="Segoe UI Semibold" panose="020B0702040204020203" pitchFamily="34" charset="0"/>
              </a:defRPr>
            </a:lvl1pPr>
          </a:lstStyle>
          <a:p>
            <a:pPr lvl="0"/>
            <a:r>
              <a:rPr lang="en-AU"/>
              <a:t>Content heading</a:t>
            </a: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98300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7057103" y="1132271"/>
            <a:ext cx="2848897" cy="57257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3">
            <a:extLst>
              <a:ext uri="{FF2B5EF4-FFF2-40B4-BE49-F238E27FC236}">
                <a16:creationId xmlns:a16="http://schemas.microsoft.com/office/drawing/2014/main" id="{7C3EFA40-0809-7BAB-D117-3DE99FC36C9B}"/>
              </a:ext>
            </a:extLst>
          </p:cNvPr>
          <p:cNvSpPr>
            <a:spLocks noGrp="1"/>
          </p:cNvSpPr>
          <p:nvPr>
            <p:ph sz="quarter" idx="15"/>
          </p:nvPr>
        </p:nvSpPr>
        <p:spPr>
          <a:xfrm>
            <a:off x="540000" y="1267969"/>
            <a:ext cx="6225131"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4816353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6765131" y="1"/>
            <a:ext cx="31408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546324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1756"/>
            <a:ext cx="5889375"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588937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ontent Placeholder 3">
            <a:extLst>
              <a:ext uri="{FF2B5EF4-FFF2-40B4-BE49-F238E27FC236}">
                <a16:creationId xmlns:a16="http://schemas.microsoft.com/office/drawing/2014/main" id="{4F79629A-E52B-6B41-FDB5-3357708E553A}"/>
              </a:ext>
            </a:extLst>
          </p:cNvPr>
          <p:cNvSpPr>
            <a:spLocks noGrp="1"/>
          </p:cNvSpPr>
          <p:nvPr>
            <p:ph sz="quarter" idx="15"/>
          </p:nvPr>
        </p:nvSpPr>
        <p:spPr>
          <a:xfrm>
            <a:off x="540000" y="1267969"/>
            <a:ext cx="6225131"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Rectangle 14">
            <a:extLst>
              <a:ext uri="{FF2B5EF4-FFF2-40B4-BE49-F238E27FC236}">
                <a16:creationId xmlns:a16="http://schemas.microsoft.com/office/drawing/2014/main" id="{3BAA4891-6448-6156-D52F-3866EC3AC40E}"/>
              </a:ext>
            </a:extLst>
          </p:cNvPr>
          <p:cNvSpPr/>
          <p:nvPr userDrawn="1"/>
        </p:nvSpPr>
        <p:spPr>
          <a:xfrm>
            <a:off x="0" y="1124744"/>
            <a:ext cx="6765131"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Tree>
    <p:extLst>
      <p:ext uri="{BB962C8B-B14F-4D97-AF65-F5344CB8AC3E}">
        <p14:creationId xmlns:p14="http://schemas.microsoft.com/office/powerpoint/2010/main" val="31525125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with title_contents head_units">
    <p:bg>
      <p:bgRef idx="1001">
        <a:schemeClr val="bg1"/>
      </p:bgRef>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D402938-ECB2-7E53-1F39-7A4231D082FA}"/>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C01E33E1-8A0E-C72A-C9E1-E5E0A15D970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3FE49197-D89A-CBEB-094D-0F97B99F897B}"/>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5238A2F4-461B-F9D7-598D-0268129DE40E}"/>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F7EA583C-A4B7-A77A-F768-0F54C04F7502}"/>
              </a:ext>
            </a:extLst>
          </p:cNvPr>
          <p:cNvGraphicFramePr>
            <a:graphicFrameLocks noChangeAspect="1"/>
          </p:cNvGraphicFramePr>
          <p:nvPr userDrawn="1">
            <p:custDataLst>
              <p:tags r:id="rId2"/>
            </p:custDataLst>
            <p:extLst>
              <p:ext uri="{D42A27DB-BD31-4B8C-83A1-F6EECF244321}">
                <p14:modId xmlns:p14="http://schemas.microsoft.com/office/powerpoint/2010/main" val="255442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F7EA583C-A4B7-A77A-F768-0F54C04F75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404665"/>
            <a:ext cx="8824913"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n-lt"/>
                <a:ea typeface="+mj-ea"/>
                <a:cs typeface="+mj-cs"/>
              </a:defRPr>
            </a:lvl1pPr>
          </a:lstStyle>
          <a:p>
            <a:r>
              <a:rPr lang="en-AU" noProof="0"/>
              <a:t>Introduction</a:t>
            </a:r>
          </a:p>
        </p:txBody>
      </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n-lt"/>
                <a:cs typeface="Segoe UI Semibold" panose="020B0702040204020203" pitchFamily="34" charset="0"/>
              </a:defRPr>
            </a:lvl1pPr>
          </a:lstStyle>
          <a:p>
            <a:pPr lvl="0"/>
            <a:r>
              <a:rPr lang="en-AU"/>
              <a:t>Content heading</a:t>
            </a:r>
          </a:p>
        </p:txBody>
      </p:sp>
      <p:sp>
        <p:nvSpPr>
          <p:cNvPr id="7" name="Text Placeholder 4">
            <a:extLst>
              <a:ext uri="{FF2B5EF4-FFF2-40B4-BE49-F238E27FC236}">
                <a16:creationId xmlns:a16="http://schemas.microsoft.com/office/drawing/2014/main" id="{C835C2B5-12B1-42E1-963E-850311B64C7E}"/>
              </a:ext>
            </a:extLst>
          </p:cNvPr>
          <p:cNvSpPr>
            <a:spLocks noGrp="1"/>
          </p:cNvSpPr>
          <p:nvPr>
            <p:ph type="body" sz="quarter" idx="14" hasCustomPrompt="1"/>
          </p:nvPr>
        </p:nvSpPr>
        <p:spPr>
          <a:xfrm>
            <a:off x="542703" y="1822145"/>
            <a:ext cx="8824912" cy="184666"/>
          </a:xfrm>
        </p:spPr>
        <p:txBody>
          <a:bodyPr vert="horz" lIns="0" tIns="0" rIns="0" bIns="0" rtlCol="0" anchor="t" anchorCtr="0">
            <a:spAutoFit/>
          </a:bodyPr>
          <a:lstStyle>
            <a:lvl1pPr rtl="0">
              <a:defRPr lang="en-AU" sz="1200" dirty="0">
                <a:solidFill>
                  <a:schemeClr val="tx2"/>
                </a:solidFill>
                <a:latin typeface="+mn-lt"/>
                <a:cs typeface="Segoe UI Semibold" panose="020B0702040204020203" pitchFamily="34" charset="0"/>
              </a:defRPr>
            </a:lvl1pPr>
          </a:lstStyle>
          <a:p>
            <a:pPr lvl="0"/>
            <a:r>
              <a:rPr lang="en-AU"/>
              <a:t>Units</a:t>
            </a:r>
          </a:p>
        </p:txBody>
      </p:sp>
      <p:sp>
        <p:nvSpPr>
          <p:cNvPr id="8" name="Content Placeholder 3">
            <a:extLst>
              <a:ext uri="{FF2B5EF4-FFF2-40B4-BE49-F238E27FC236}">
                <a16:creationId xmlns:a16="http://schemas.microsoft.com/office/drawing/2014/main" id="{5AEFF481-37D7-46B2-82BC-A290DC84E136}"/>
              </a:ext>
            </a:extLst>
          </p:cNvPr>
          <p:cNvSpPr>
            <a:spLocks noGrp="1"/>
          </p:cNvSpPr>
          <p:nvPr>
            <p:ph sz="quarter" idx="15"/>
          </p:nvPr>
        </p:nvSpPr>
        <p:spPr>
          <a:xfrm>
            <a:off x="540000" y="2134084"/>
            <a:ext cx="8820000" cy="3710761"/>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39705715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209045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75789"/>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558839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5"/>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687621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2617192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84933"/>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5"/>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507991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2">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50866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EB36B5-621B-686E-C981-3722C8ADD5BD}"/>
              </a:ext>
            </a:extLst>
          </p:cNvPr>
          <p:cNvSpPr/>
          <p:nvPr userDrawn="1"/>
        </p:nvSpPr>
        <p:spPr>
          <a:xfrm>
            <a:off x="0" y="3567933"/>
            <a:ext cx="9906002" cy="227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96828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p:cNvSpPr>
            <a:spLocks noGrp="1"/>
          </p:cNvSpPr>
          <p:nvPr>
            <p:ph type="body" sz="quarter" idx="10" hasCustomPrompt="1"/>
          </p:nvPr>
        </p:nvSpPr>
        <p:spPr>
          <a:xfrm>
            <a:off x="540000" y="4149205"/>
            <a:ext cx="6825934" cy="1080790"/>
          </a:xfrm>
        </p:spPr>
        <p:txBody>
          <a:bodyPr anchor="ctr" anchorCtr="0"/>
          <a:lstStyle>
            <a:lvl1pPr rtl="0">
              <a:defRPr sz="2800">
                <a:solidFill>
                  <a:schemeClr val="bg1"/>
                </a:solidFill>
                <a:latin typeface="+mj-lt"/>
              </a:defRPr>
            </a:lvl1pPr>
            <a:lvl5pPr>
              <a:defRPr/>
            </a:lvl5pPr>
          </a:lstStyle>
          <a:p>
            <a:pPr lvl="0"/>
            <a:r>
              <a:rPr lang="en-AU" noProof="0"/>
              <a:t>Section title</a:t>
            </a:r>
          </a:p>
        </p:txBody>
      </p:sp>
      <p:grpSp>
        <p:nvGrpSpPr>
          <p:cNvPr id="15" name="Graphic elements">
            <a:extLst>
              <a:ext uri="{FF2B5EF4-FFF2-40B4-BE49-F238E27FC236}">
                <a16:creationId xmlns:a16="http://schemas.microsoft.com/office/drawing/2014/main" id="{7B1365EA-BE65-EE7C-610B-236CC610D9C2}"/>
              </a:ext>
            </a:extLst>
          </p:cNvPr>
          <p:cNvGrpSpPr/>
          <p:nvPr userDrawn="1"/>
        </p:nvGrpSpPr>
        <p:grpSpPr>
          <a:xfrm rot="16200000">
            <a:off x="8200178" y="4131811"/>
            <a:ext cx="2278800" cy="1141943"/>
            <a:chOff x="3535488" y="2524125"/>
            <a:chExt cx="8643185" cy="4331239"/>
          </a:xfrm>
        </p:grpSpPr>
        <p:sp>
          <p:nvSpPr>
            <p:cNvPr id="16" name="Freeform: Shape 15">
              <a:extLst>
                <a:ext uri="{FF2B5EF4-FFF2-40B4-BE49-F238E27FC236}">
                  <a16:creationId xmlns:a16="http://schemas.microsoft.com/office/drawing/2014/main" id="{6184DC15-0A87-0491-987E-572E236BC3B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3D6D8BC0-9A84-C855-08B3-25783D281ADA}"/>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61440383-5CDC-5084-4CEF-38D2F528556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C652D844-FE9C-C432-D068-DED78E6D5BAF}"/>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spTree>
    <p:extLst>
      <p:ext uri="{BB962C8B-B14F-4D97-AF65-F5344CB8AC3E}">
        <p14:creationId xmlns:p14="http://schemas.microsoft.com/office/powerpoint/2010/main" val="19530110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1986292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75789"/>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2">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081313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3">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8230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1057101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84933"/>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3">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865056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921646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828966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30413DF-8AD5-4747-FC5C-C833EE375A58}"/>
              </a:ext>
            </a:extLst>
          </p:cNvPr>
          <p:cNvSpPr/>
          <p:nvPr userDrawn="1"/>
        </p:nvSpPr>
        <p:spPr>
          <a:xfrm>
            <a:off x="0" y="1632857"/>
            <a:ext cx="9906000" cy="5225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492287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page content">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37629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E37A46-CA09-0B53-141F-527B734D1B75}"/>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D76BFB18-0538-4A9C-A43F-71FE281603D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6" name="Graphic elements">
            <a:extLst>
              <a:ext uri="{FF2B5EF4-FFF2-40B4-BE49-F238E27FC236}">
                <a16:creationId xmlns:a16="http://schemas.microsoft.com/office/drawing/2014/main" id="{E3DB4DE2-4EFD-53A4-F8D8-DBECEE3A12FC}"/>
              </a:ext>
            </a:extLst>
          </p:cNvPr>
          <p:cNvGrpSpPr/>
          <p:nvPr userDrawn="1"/>
        </p:nvGrpSpPr>
        <p:grpSpPr>
          <a:xfrm>
            <a:off x="8355768" y="6080215"/>
            <a:ext cx="1555548" cy="777785"/>
            <a:chOff x="3532313" y="2524125"/>
            <a:chExt cx="8656007" cy="4328064"/>
          </a:xfrm>
        </p:grpSpPr>
        <p:sp>
          <p:nvSpPr>
            <p:cNvPr id="17" name="Freeform: Shape 16">
              <a:extLst>
                <a:ext uri="{FF2B5EF4-FFF2-40B4-BE49-F238E27FC236}">
                  <a16:creationId xmlns:a16="http://schemas.microsoft.com/office/drawing/2014/main" id="{C1171C48-5488-7191-B9F1-AE3E6E96A9D2}"/>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F04914DB-D789-A9C1-0ECA-817EC5E2BFD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FF66EA98-83E8-1EB2-E1E5-F54C7831C22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D4D32013-E7E7-69C2-9ABA-5F3B87735ED7}"/>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362178B-65FC-F653-28DF-8297713FEFD0}"/>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8173446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with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1" y="5013177"/>
            <a:ext cx="9903600" cy="1846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3" name="Group 2">
            <a:extLst>
              <a:ext uri="{FF2B5EF4-FFF2-40B4-BE49-F238E27FC236}">
                <a16:creationId xmlns:a16="http://schemas.microsoft.com/office/drawing/2014/main" id="{1E86346C-F6B7-F369-C052-897C3B97BCD8}"/>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5B763431-3867-8FFE-2BAD-025B88FF2D4F}"/>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00794D5A-73D5-1414-4C1D-0FBDBFCB2AD9}"/>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2218F730-F5F9-CD1E-A403-F290CD84254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52D93F66-ED3F-04B7-213D-5C913A4328FC}"/>
              </a:ext>
            </a:extLst>
          </p:cNvPr>
          <p:cNvGraphicFramePr>
            <a:graphicFrameLocks noChangeAspect="1"/>
          </p:cNvGraphicFramePr>
          <p:nvPr userDrawn="1">
            <p:custDataLst>
              <p:tags r:id="rId2"/>
            </p:custDataLst>
            <p:extLst>
              <p:ext uri="{D42A27DB-BD31-4B8C-83A1-F6EECF244321}">
                <p14:modId xmlns:p14="http://schemas.microsoft.com/office/powerpoint/2010/main" val="2256542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52D93F66-ED3F-04B7-213D-5C913A4328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tx2"/>
                </a:solidFill>
                <a:latin typeface="+mn-lt"/>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5">
            <a:extLst>
              <a:ext uri="{FF2B5EF4-FFF2-40B4-BE49-F238E27FC236}">
                <a16:creationId xmlns:a16="http://schemas.microsoft.com/office/drawing/2014/main" id="{AABECE57-A4A0-3D4C-4B07-611258B0D43B}"/>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14" name="Title 1">
            <a:extLst>
              <a:ext uri="{FF2B5EF4-FFF2-40B4-BE49-F238E27FC236}">
                <a16:creationId xmlns:a16="http://schemas.microsoft.com/office/drawing/2014/main" id="{CCCF105E-E95C-3951-C8B9-6BD431E3B9AE}"/>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15" name="Straight Connector 14">
            <a:extLst>
              <a:ext uri="{FF2B5EF4-FFF2-40B4-BE49-F238E27FC236}">
                <a16:creationId xmlns:a16="http://schemas.microsoft.com/office/drawing/2014/main" id="{F3C14D68-9ECE-D618-2B00-EDC7E5030F21}"/>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6366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grey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0" y="5013177"/>
            <a:ext cx="9909957" cy="18464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7" name="Group 6">
            <a:extLst>
              <a:ext uri="{FF2B5EF4-FFF2-40B4-BE49-F238E27FC236}">
                <a16:creationId xmlns:a16="http://schemas.microsoft.com/office/drawing/2014/main" id="{CA1FEB06-D3E0-548E-DEBB-5C174D8F2A96}"/>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F73006C2-C453-F707-A303-F86AA2257D2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205D976E-E4E3-AC64-1F92-5F5B1F5A47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7077DD11-EE3F-8569-6141-91659BA803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EEFE6554-A53D-3622-FED1-FA8B507A8722}"/>
              </a:ext>
            </a:extLst>
          </p:cNvPr>
          <p:cNvGraphicFramePr>
            <a:graphicFrameLocks noChangeAspect="1"/>
          </p:cNvGraphicFramePr>
          <p:nvPr userDrawn="1">
            <p:custDataLst>
              <p:tags r:id="rId2"/>
            </p:custDataLst>
            <p:extLst>
              <p:ext uri="{D42A27DB-BD31-4B8C-83A1-F6EECF244321}">
                <p14:modId xmlns:p14="http://schemas.microsoft.com/office/powerpoint/2010/main" val="796340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EFE6554-A53D-3622-FED1-FA8B507A8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5">
            <a:extLst>
              <a:ext uri="{FF2B5EF4-FFF2-40B4-BE49-F238E27FC236}">
                <a16:creationId xmlns:a16="http://schemas.microsoft.com/office/drawing/2014/main" id="{B2199180-72FB-A4B3-6138-97F3E7C974C7}"/>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4" name="Title 1">
            <a:extLst>
              <a:ext uri="{FF2B5EF4-FFF2-40B4-BE49-F238E27FC236}">
                <a16:creationId xmlns:a16="http://schemas.microsoft.com/office/drawing/2014/main" id="{08865070-170A-D8E4-8A31-4885E41433C3}"/>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F54802EB-872F-3088-D3A0-540AF6D42690}"/>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35448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harts then content blue">
    <p:bg>
      <p:bgRef idx="1001">
        <a:schemeClr val="bg1"/>
      </p:bgRef>
    </p:bg>
    <p:spTree>
      <p:nvGrpSpPr>
        <p:cNvPr id="1" name=""/>
        <p:cNvGrpSpPr/>
        <p:nvPr/>
      </p:nvGrpSpPr>
      <p:grpSpPr>
        <a:xfrm>
          <a:off x="0" y="0"/>
          <a:ext cx="0" cy="0"/>
          <a:chOff x="0" y="0"/>
          <a:chExt cx="0" cy="0"/>
        </a:xfrm>
      </p:grpSpPr>
      <p:sp>
        <p:nvSpPr>
          <p:cNvPr id="13" name="Rectangle 12"/>
          <p:cNvSpPr/>
          <p:nvPr userDrawn="1"/>
        </p:nvSpPr>
        <p:spPr>
          <a:xfrm>
            <a:off x="0" y="1753590"/>
            <a:ext cx="9906000" cy="45644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17" name="Group 16">
            <a:extLst>
              <a:ext uri="{FF2B5EF4-FFF2-40B4-BE49-F238E27FC236}">
                <a16:creationId xmlns:a16="http://schemas.microsoft.com/office/drawing/2014/main" id="{E4E9CB43-D51A-F98D-1E9B-352048ED3DDE}"/>
              </a:ext>
            </a:extLst>
          </p:cNvPr>
          <p:cNvGrpSpPr/>
          <p:nvPr userDrawn="1"/>
        </p:nvGrpSpPr>
        <p:grpSpPr>
          <a:xfrm>
            <a:off x="8716488" y="5668488"/>
            <a:ext cx="1193470" cy="1193470"/>
            <a:chOff x="10069009" y="2893384"/>
            <a:chExt cx="1704975" cy="1704975"/>
          </a:xfrm>
        </p:grpSpPr>
        <p:sp>
          <p:nvSpPr>
            <p:cNvPr id="18" name="Freeform: Shape 17">
              <a:extLst>
                <a:ext uri="{FF2B5EF4-FFF2-40B4-BE49-F238E27FC236}">
                  <a16:creationId xmlns:a16="http://schemas.microsoft.com/office/drawing/2014/main" id="{BA4BDF8A-53CF-7B83-AF8D-C8046239DF9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F2AF1237-6DF2-A789-C7A4-6F0806B2AC5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B95038B3-6205-B95D-2DDD-804A39F28C91}"/>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61207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Content Placeholder 5"/>
          <p:cNvSpPr>
            <a:spLocks noGrp="1"/>
          </p:cNvSpPr>
          <p:nvPr>
            <p:ph sz="quarter" idx="13"/>
          </p:nvPr>
        </p:nvSpPr>
        <p:spPr>
          <a:xfrm>
            <a:off x="540000" y="1916832"/>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p:cNvSpPr>
            <a:spLocks noGrp="1"/>
          </p:cNvSpPr>
          <p:nvPr>
            <p:ph sz="quarter" idx="15"/>
          </p:nvPr>
        </p:nvSpPr>
        <p:spPr>
          <a:xfrm>
            <a:off x="5139764" y="1915468"/>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8"/>
          <p:cNvSpPr>
            <a:spLocks noGrp="1"/>
          </p:cNvSpPr>
          <p:nvPr>
            <p:ph type="body" sz="quarter" idx="31"/>
          </p:nvPr>
        </p:nvSpPr>
        <p:spPr>
          <a:xfrm>
            <a:off x="540000" y="5082761"/>
            <a:ext cx="8820000" cy="107950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6DA2CE39-2F66-1DC7-3E3D-B700D026A339}"/>
              </a:ext>
            </a:extLst>
          </p:cNvPr>
          <p:cNvSpPr>
            <a:spLocks noGrp="1"/>
          </p:cNvSpPr>
          <p:nvPr>
            <p:ph type="body" sz="quarter" idx="32"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8" name="Title 1">
            <a:extLst>
              <a:ext uri="{FF2B5EF4-FFF2-40B4-BE49-F238E27FC236}">
                <a16:creationId xmlns:a16="http://schemas.microsoft.com/office/drawing/2014/main" id="{95DF9EBD-1CFD-E876-C7E1-3D9035303BAF}"/>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9" name="Straight Connector 8">
            <a:extLst>
              <a:ext uri="{FF2B5EF4-FFF2-40B4-BE49-F238E27FC236}">
                <a16:creationId xmlns:a16="http://schemas.microsoft.com/office/drawing/2014/main" id="{196FDA4F-5ED4-C817-39FF-F2ACF45FECC9}"/>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15179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t then content">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762CC1-4A39-C89E-D8DB-2CEDFCDE3716}"/>
              </a:ext>
            </a:extLst>
          </p:cNvPr>
          <p:cNvGrpSpPr/>
          <p:nvPr userDrawn="1"/>
        </p:nvGrpSpPr>
        <p:grpSpPr>
          <a:xfrm>
            <a:off x="8627258" y="0"/>
            <a:ext cx="1282700" cy="6861958"/>
            <a:chOff x="11229975" y="1714500"/>
            <a:chExt cx="962025" cy="5143500"/>
          </a:xfrm>
        </p:grpSpPr>
        <p:sp>
          <p:nvSpPr>
            <p:cNvPr id="14" name="Freeform: Shape 13">
              <a:extLst>
                <a:ext uri="{FF2B5EF4-FFF2-40B4-BE49-F238E27FC236}">
                  <a16:creationId xmlns:a16="http://schemas.microsoft.com/office/drawing/2014/main" id="{0A4A2EF7-FE0A-D026-2BA2-1E5592C26867}"/>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DEB7DE5B-B898-FA75-FD32-DDA158EF9713}"/>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6D41200A-B63D-533F-7FF8-85BB3AF03D03}"/>
              </a:ext>
            </a:extLst>
          </p:cNvPr>
          <p:cNvGraphicFramePr>
            <a:graphicFrameLocks noChangeAspect="1"/>
          </p:cNvGraphicFramePr>
          <p:nvPr userDrawn="1">
            <p:custDataLst>
              <p:tags r:id="rId2"/>
            </p:custDataLst>
            <p:extLst>
              <p:ext uri="{D42A27DB-BD31-4B8C-83A1-F6EECF244321}">
                <p14:modId xmlns:p14="http://schemas.microsoft.com/office/powerpoint/2010/main" val="86566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D41200A-B63D-533F-7FF8-85BB3AF03D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3"/>
          <p:cNvSpPr>
            <a:spLocks noGrp="1"/>
          </p:cNvSpPr>
          <p:nvPr>
            <p:ph sz="quarter" idx="12"/>
          </p:nvPr>
        </p:nvSpPr>
        <p:spPr>
          <a:xfrm>
            <a:off x="540000" y="1886853"/>
            <a:ext cx="8204197" cy="2889973"/>
          </a:xfrm>
          <a:prstGeom prst="rect">
            <a:avLst/>
          </a:prstGeom>
        </p:spPr>
        <p:txBody>
          <a:bodyPr/>
          <a:lstStyle>
            <a:lvl1pPr rtl="0" eaLnBrk="1">
              <a:defRPr sz="1100">
                <a:solidFill>
                  <a:schemeClr val="tx2"/>
                </a:solidFill>
                <a:latin typeface="+mn-lt"/>
              </a:defRPr>
            </a:lvl1pPr>
            <a:lvl2pPr>
              <a:defRPr sz="1100"/>
            </a:lvl2pPr>
            <a:lvl3pPr>
              <a:defRPr sz="1100"/>
            </a:lvl3pPr>
            <a:lvl4pPr>
              <a:defRPr sz="1100"/>
            </a:lvl4pPr>
            <a:lvl5pPr>
              <a:defRPr sz="1100"/>
            </a:lvl5pPr>
          </a:lstStyle>
          <a:p>
            <a:pPr lvl="0"/>
            <a:r>
              <a:rPr lang="en-US" noProof="0"/>
              <a:t>Click to edit Master text styles</a:t>
            </a:r>
          </a:p>
        </p:txBody>
      </p:sp>
      <p:sp>
        <p:nvSpPr>
          <p:cNvPr id="12" name="Text Placeholder 8"/>
          <p:cNvSpPr>
            <a:spLocks noGrp="1"/>
          </p:cNvSpPr>
          <p:nvPr>
            <p:ph type="body" sz="quarter" idx="31"/>
          </p:nvPr>
        </p:nvSpPr>
        <p:spPr>
          <a:xfrm>
            <a:off x="540000" y="4945075"/>
            <a:ext cx="8204197" cy="987552"/>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10" hasCustomPrompt="1"/>
          </p:nvPr>
        </p:nvSpPr>
        <p:spPr>
          <a:xfrm>
            <a:off x="540000" y="6092325"/>
            <a:ext cx="8204197" cy="300037"/>
          </a:xfrm>
        </p:spPr>
        <p:txBody>
          <a:bodyPr anchor="ctr"/>
          <a:lstStyle>
            <a:lvl1pPr rtl="0">
              <a:defRPr sz="800">
                <a:solidFill>
                  <a:schemeClr val="tx2"/>
                </a:solidFill>
                <a:latin typeface="+mn-lt"/>
              </a:defRPr>
            </a:lvl1pPr>
          </a:lstStyle>
          <a:p>
            <a:pPr lvl="0"/>
            <a:r>
              <a:rPr lang="en-AU" noProof="0"/>
              <a:t>Source</a:t>
            </a:r>
          </a:p>
        </p:txBody>
      </p:sp>
      <p:sp>
        <p:nvSpPr>
          <p:cNvPr id="4" name="Text Placeholder 5">
            <a:extLst>
              <a:ext uri="{FF2B5EF4-FFF2-40B4-BE49-F238E27FC236}">
                <a16:creationId xmlns:a16="http://schemas.microsoft.com/office/drawing/2014/main" id="{546ED6B8-7473-4DDC-1E51-3D466125498E}"/>
              </a:ext>
            </a:extLst>
          </p:cNvPr>
          <p:cNvSpPr>
            <a:spLocks noGrp="1"/>
          </p:cNvSpPr>
          <p:nvPr>
            <p:ph type="body" sz="quarter" idx="32" hasCustomPrompt="1"/>
          </p:nvPr>
        </p:nvSpPr>
        <p:spPr>
          <a:xfrm>
            <a:off x="540000" y="1092548"/>
            <a:ext cx="8204197" cy="458792"/>
          </a:xfrm>
        </p:spPr>
        <p:txBody>
          <a:bodyPr/>
          <a:lstStyle>
            <a:lvl1pPr rtl="0">
              <a:defRPr sz="1200">
                <a:solidFill>
                  <a:schemeClr val="tx2"/>
                </a:solidFill>
                <a:latin typeface="+mn-lt"/>
              </a:defRPr>
            </a:lvl1pPr>
          </a:lstStyle>
          <a:p>
            <a:pPr lvl="0"/>
            <a:r>
              <a:rPr lang="en-AU" noProof="0"/>
              <a:t>Sub heading</a:t>
            </a:r>
          </a:p>
        </p:txBody>
      </p:sp>
      <p:sp>
        <p:nvSpPr>
          <p:cNvPr id="5" name="Title 1">
            <a:extLst>
              <a:ext uri="{FF2B5EF4-FFF2-40B4-BE49-F238E27FC236}">
                <a16:creationId xmlns:a16="http://schemas.microsoft.com/office/drawing/2014/main" id="{E9C81774-E7E7-725E-6056-76336BF44ED4}"/>
              </a:ext>
            </a:extLst>
          </p:cNvPr>
          <p:cNvSpPr>
            <a:spLocks noGrp="1"/>
          </p:cNvSpPr>
          <p:nvPr>
            <p:ph type="title" hasCustomPrompt="1"/>
          </p:nvPr>
        </p:nvSpPr>
        <p:spPr>
          <a:xfrm>
            <a:off x="540000" y="548681"/>
            <a:ext cx="8204197"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6" name="Straight Connector 5">
            <a:extLst>
              <a:ext uri="{FF2B5EF4-FFF2-40B4-BE49-F238E27FC236}">
                <a16:creationId xmlns:a16="http://schemas.microsoft.com/office/drawing/2014/main" id="{6878793C-F985-469C-715C-549E8348B216}"/>
              </a:ext>
            </a:extLst>
          </p:cNvPr>
          <p:cNvCxnSpPr>
            <a:cxnSpLocks/>
          </p:cNvCxnSpPr>
          <p:nvPr userDrawn="1"/>
        </p:nvCxnSpPr>
        <p:spPr>
          <a:xfrm>
            <a:off x="539998" y="980309"/>
            <a:ext cx="820419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0101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F744C96-3F0F-E838-DE56-17C1F96FF38E}"/>
              </a:ext>
            </a:extLst>
          </p:cNvPr>
          <p:cNvGrpSpPr/>
          <p:nvPr userDrawn="1"/>
        </p:nvGrpSpPr>
        <p:grpSpPr>
          <a:xfrm>
            <a:off x="8716488" y="5668488"/>
            <a:ext cx="1193470" cy="1193470"/>
            <a:chOff x="10069009" y="2893384"/>
            <a:chExt cx="1704975" cy="1704975"/>
          </a:xfrm>
        </p:grpSpPr>
        <p:sp>
          <p:nvSpPr>
            <p:cNvPr id="7" name="Freeform: Shape 6">
              <a:extLst>
                <a:ext uri="{FF2B5EF4-FFF2-40B4-BE49-F238E27FC236}">
                  <a16:creationId xmlns:a16="http://schemas.microsoft.com/office/drawing/2014/main" id="{40471D8F-9857-0258-04DE-0A8ADAF1D96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1650545E-6911-B0F8-E9BE-4646571115C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86970DE2-46FD-E50B-953E-7A427A9C85A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99520AEC-DF62-4E73-8F72-33208A922B69}"/>
              </a:ext>
            </a:extLst>
          </p:cNvPr>
          <p:cNvGraphicFramePr>
            <a:graphicFrameLocks noChangeAspect="1"/>
          </p:cNvGraphicFramePr>
          <p:nvPr userDrawn="1">
            <p:custDataLst>
              <p:tags r:id="rId2"/>
            </p:custDataLst>
            <p:extLst>
              <p:ext uri="{D42A27DB-BD31-4B8C-83A1-F6EECF244321}">
                <p14:modId xmlns:p14="http://schemas.microsoft.com/office/powerpoint/2010/main" val="412920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9520AEC-DF62-4E73-8F72-33208A922B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sp>
        <p:nvSpPr>
          <p:cNvPr id="4" name="TextBox 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Content Placeholder 1"/>
          <p:cNvSpPr>
            <a:spLocks noGrp="1"/>
          </p:cNvSpPr>
          <p:nvPr>
            <p:ph sz="quarter" idx="13" hasCustomPrompt="1"/>
          </p:nvPr>
        </p:nvSpPr>
        <p:spPr>
          <a:xfrm>
            <a:off x="540000" y="1268760"/>
            <a:ext cx="8820000" cy="504055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solidFill>
                  <a:schemeClr val="tx2"/>
                </a:solidFill>
              </a:defRPr>
            </a:lvl1pPr>
            <a:lvl2pPr marL="504000" indent="-252000" rtl="0">
              <a:spcAft>
                <a:spcPts val="600"/>
              </a:spcAft>
              <a:buClr>
                <a:schemeClr val="bg2"/>
              </a:buClr>
              <a:buFont typeface="Segoe UI" panose="020B0502040204020203" pitchFamily="34" charset="0"/>
              <a:buChar char="–"/>
              <a:defRPr sz="1200">
                <a:solidFill>
                  <a:schemeClr val="tx2"/>
                </a:solidFill>
              </a:defRPr>
            </a:lvl2pPr>
            <a:lvl3pPr marL="756000" indent="-252000" rtl="0">
              <a:spcAft>
                <a:spcPts val="600"/>
              </a:spcAft>
              <a:buClr>
                <a:schemeClr val="bg2"/>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cxnSp>
        <p:nvCxnSpPr>
          <p:cNvPr id="11" name="Straight Connector 10">
            <a:extLst>
              <a:ext uri="{FF2B5EF4-FFF2-40B4-BE49-F238E27FC236}">
                <a16:creationId xmlns:a16="http://schemas.microsoft.com/office/drawing/2014/main" id="{BFCB1AD8-51DD-6A5F-04CD-DD808012BE06}"/>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01051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 small panel with content blu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F1F190-97CD-9E78-A366-35E937462084}"/>
              </a:ext>
            </a:extLst>
          </p:cNvPr>
          <p:cNvGraphicFramePr>
            <a:graphicFrameLocks noChangeAspect="1"/>
          </p:cNvGraphicFramePr>
          <p:nvPr userDrawn="1">
            <p:custDataLst>
              <p:tags r:id="rId2"/>
            </p:custDataLst>
            <p:extLst>
              <p:ext uri="{D42A27DB-BD31-4B8C-83A1-F6EECF244321}">
                <p14:modId xmlns:p14="http://schemas.microsoft.com/office/powerpoint/2010/main" val="326854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8AF1F190-97CD-9E78-A366-35E9374620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6" name="Text Placeholder 5"/>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8" name="Text Placeholder 7"/>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Box 11"/>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Rectangle 12"/>
          <p:cNvSpPr/>
          <p:nvPr userDrawn="1"/>
        </p:nvSpPr>
        <p:spPr>
          <a:xfrm>
            <a:off x="-3376" y="0"/>
            <a:ext cx="2292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Text Placeholder 8"/>
          <p:cNvSpPr>
            <a:spLocks noGrp="1"/>
          </p:cNvSpPr>
          <p:nvPr>
            <p:ph type="body" sz="quarter" idx="31"/>
          </p:nvPr>
        </p:nvSpPr>
        <p:spPr>
          <a:xfrm>
            <a:off x="272480" y="548680"/>
            <a:ext cx="1764000" cy="5688632"/>
          </a:xfrm>
        </p:spPr>
        <p:txBody>
          <a:bodyPr anchor="ctr"/>
          <a:lstStyle>
            <a:lvl1pPr rtl="0">
              <a:defRPr sz="1100">
                <a:solidFill>
                  <a:schemeClr val="bg1"/>
                </a:solidFill>
                <a:latin typeface="+mn-lt"/>
                <a:cs typeface="Segoe UI Semilight" panose="020B0402040204020203" pitchFamily="34" charset="0"/>
              </a:defRPr>
            </a:lvl1pPr>
            <a:lvl2pPr rtl="0">
              <a:buClr>
                <a:schemeClr val="bg1"/>
              </a:buClr>
              <a:defRPr sz="1100">
                <a:solidFill>
                  <a:schemeClr val="bg1"/>
                </a:solidFill>
                <a:latin typeface="+mn-lt"/>
                <a:cs typeface="Segoe UI Semilight" panose="020B0402040204020203" pitchFamily="34" charset="0"/>
              </a:defRPr>
            </a:lvl2pPr>
            <a:lvl3pPr rtl="0">
              <a:buClr>
                <a:schemeClr val="bg1"/>
              </a:buClr>
              <a:defRPr sz="1100">
                <a:solidFill>
                  <a:schemeClr val="bg1"/>
                </a:solidFill>
                <a:latin typeface="+mn-lt"/>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cxnSp>
        <p:nvCxnSpPr>
          <p:cNvPr id="3" name="Straight Connector 2">
            <a:extLst>
              <a:ext uri="{FF2B5EF4-FFF2-40B4-BE49-F238E27FC236}">
                <a16:creationId xmlns:a16="http://schemas.microsoft.com/office/drawing/2014/main" id="{273F2836-6ADB-672E-7144-7EF638154E72}"/>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1" name="Graphic elements">
            <a:extLst>
              <a:ext uri="{FF2B5EF4-FFF2-40B4-BE49-F238E27FC236}">
                <a16:creationId xmlns:a16="http://schemas.microsoft.com/office/drawing/2014/main" id="{4380304B-BE25-D6DF-EE72-EEB759D0F713}"/>
              </a:ext>
            </a:extLst>
          </p:cNvPr>
          <p:cNvGrpSpPr/>
          <p:nvPr userDrawn="1"/>
        </p:nvGrpSpPr>
        <p:grpSpPr>
          <a:xfrm>
            <a:off x="8350452" y="6080215"/>
            <a:ext cx="1555548" cy="777785"/>
            <a:chOff x="3532313" y="2524125"/>
            <a:chExt cx="8656007" cy="4328064"/>
          </a:xfrm>
        </p:grpSpPr>
        <p:sp>
          <p:nvSpPr>
            <p:cNvPr id="22" name="Freeform: Shape 21">
              <a:extLst>
                <a:ext uri="{FF2B5EF4-FFF2-40B4-BE49-F238E27FC236}">
                  <a16:creationId xmlns:a16="http://schemas.microsoft.com/office/drawing/2014/main" id="{A4A92599-092D-ABA0-324C-7D8C8976CFDF}"/>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7608AE35-E0C7-1745-40D3-081F301247C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A79204A4-10F7-30F1-E27B-591189994CB7}"/>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40441680-B56D-D360-DAEC-DA6523F16CF4}"/>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1ABDA20F-ED49-4A12-ED2C-00449DE588D1}"/>
              </a:ext>
            </a:extLst>
          </p:cNvPr>
          <p:cNvSpPr txBox="1">
            <a:spLocks/>
          </p:cNvSpPr>
          <p:nvPr userDrawn="1"/>
        </p:nvSpPr>
        <p:spPr>
          <a:xfrm>
            <a:off x="8906852"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14519975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ll panel with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993DD0-0D77-7AB7-580F-E59EF96FEF6D}"/>
              </a:ext>
            </a:extLst>
          </p:cNvPr>
          <p:cNvGraphicFramePr>
            <a:graphicFrameLocks noChangeAspect="1"/>
          </p:cNvGraphicFramePr>
          <p:nvPr userDrawn="1">
            <p:custDataLst>
              <p:tags r:id="rId2"/>
            </p:custDataLst>
            <p:extLst>
              <p:ext uri="{D42A27DB-BD31-4B8C-83A1-F6EECF244321}">
                <p14:modId xmlns:p14="http://schemas.microsoft.com/office/powerpoint/2010/main" val="111884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CF993DD0-0D77-7AB7-580F-E59EF96FEF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3376" y="1"/>
            <a:ext cx="229208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0" name="Text Placeholder 8"/>
          <p:cNvSpPr>
            <a:spLocks noGrp="1"/>
          </p:cNvSpPr>
          <p:nvPr>
            <p:ph type="body" sz="quarter" idx="31"/>
          </p:nvPr>
        </p:nvSpPr>
        <p:spPr>
          <a:xfrm>
            <a:off x="272480" y="548680"/>
            <a:ext cx="1764000" cy="5688632"/>
          </a:xfrm>
        </p:spPr>
        <p:txBody>
          <a:bodyPr anchor="ct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2"/>
              </a:buClr>
              <a:defRPr sz="1100">
                <a:solidFill>
                  <a:schemeClr val="tx2"/>
                </a:solidFill>
                <a:latin typeface="+mn-lt"/>
                <a:ea typeface="Segoe UI" panose="020B0502040204020203" pitchFamily="34" charset="0"/>
                <a:cs typeface="Segoe UI" panose="020B0502040204020203" pitchFamily="34" charset="0"/>
              </a:defRPr>
            </a:lvl2pPr>
            <a:lvl3pPr rtl="0">
              <a:buClr>
                <a:schemeClr val="bg2"/>
              </a:buClr>
              <a:defRPr sz="1100">
                <a:solidFill>
                  <a:schemeClr val="tx2"/>
                </a:solidFill>
                <a:latin typeface="+mn-lt"/>
                <a:ea typeface="Segoe UI" panose="020B0502040204020203" pitchFamily="34" charset="0"/>
                <a:cs typeface="Segoe UI" panose="020B05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3" name="Title 1">
            <a:extLst>
              <a:ext uri="{FF2B5EF4-FFF2-40B4-BE49-F238E27FC236}">
                <a16:creationId xmlns:a16="http://schemas.microsoft.com/office/drawing/2014/main" id="{AAA5E587-F464-EF87-D175-D0F1FC833AAC}"/>
              </a:ext>
            </a:extLst>
          </p:cNvPr>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4" name="Text Placeholder 5">
            <a:extLst>
              <a:ext uri="{FF2B5EF4-FFF2-40B4-BE49-F238E27FC236}">
                <a16:creationId xmlns:a16="http://schemas.microsoft.com/office/drawing/2014/main" id="{9D49C7C3-226C-5D69-BDAB-ABA5AC656A83}"/>
              </a:ext>
            </a:extLst>
          </p:cNvPr>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5" name="Text Placeholder 7">
            <a:extLst>
              <a:ext uri="{FF2B5EF4-FFF2-40B4-BE49-F238E27FC236}">
                <a16:creationId xmlns:a16="http://schemas.microsoft.com/office/drawing/2014/main" id="{4CC6C992-42A7-81A2-43C4-63561CE37543}"/>
              </a:ext>
            </a:extLst>
          </p:cNvPr>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cxnSp>
        <p:nvCxnSpPr>
          <p:cNvPr id="19" name="Straight Connector 18">
            <a:extLst>
              <a:ext uri="{FF2B5EF4-FFF2-40B4-BE49-F238E27FC236}">
                <a16:creationId xmlns:a16="http://schemas.microsoft.com/office/drawing/2014/main" id="{8319E869-473C-E3F9-DD04-09FFF1762B23}"/>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F47202-F991-9342-2F8A-DD0DD25817D0}"/>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AC088491-AC46-52E1-D9E7-F0131C22162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2" name="Graphic elements">
            <a:extLst>
              <a:ext uri="{FF2B5EF4-FFF2-40B4-BE49-F238E27FC236}">
                <a16:creationId xmlns:a16="http://schemas.microsoft.com/office/drawing/2014/main" id="{77490F97-6C23-BD41-ECB6-462B1A21AAD1}"/>
              </a:ext>
            </a:extLst>
          </p:cNvPr>
          <p:cNvGrpSpPr/>
          <p:nvPr userDrawn="1"/>
        </p:nvGrpSpPr>
        <p:grpSpPr>
          <a:xfrm>
            <a:off x="8355768" y="6080215"/>
            <a:ext cx="1555548" cy="777785"/>
            <a:chOff x="3532313" y="2524125"/>
            <a:chExt cx="8656007" cy="4328064"/>
          </a:xfrm>
        </p:grpSpPr>
        <p:sp>
          <p:nvSpPr>
            <p:cNvPr id="16" name="Freeform: Shape 15">
              <a:extLst>
                <a:ext uri="{FF2B5EF4-FFF2-40B4-BE49-F238E27FC236}">
                  <a16:creationId xmlns:a16="http://schemas.microsoft.com/office/drawing/2014/main" id="{D31C00C5-6B3C-4934-76EA-059CFB3BDD4E}"/>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1942E213-9034-0786-2458-3856688B610E}"/>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FEEB45FF-52BA-94F6-1589-4E30F370F2D0}"/>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1" name="Freeform: Shape 20">
              <a:extLst>
                <a:ext uri="{FF2B5EF4-FFF2-40B4-BE49-F238E27FC236}">
                  <a16:creationId xmlns:a16="http://schemas.microsoft.com/office/drawing/2014/main" id="{CAF0EC4F-E99D-C8C0-F31E-77A48C20FB6A}"/>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2" name="Slide Number Placeholder 5">
            <a:extLst>
              <a:ext uri="{FF2B5EF4-FFF2-40B4-BE49-F238E27FC236}">
                <a16:creationId xmlns:a16="http://schemas.microsoft.com/office/drawing/2014/main" id="{759A65D4-C0AF-3796-2500-3248E1BA8AF8}"/>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501059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content">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4953332" y="0"/>
            <a:ext cx="4952668"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grpSp>
        <p:nvGrpSpPr>
          <p:cNvPr id="3" name="Group 2">
            <a:extLst>
              <a:ext uri="{FF2B5EF4-FFF2-40B4-BE49-F238E27FC236}">
                <a16:creationId xmlns:a16="http://schemas.microsoft.com/office/drawing/2014/main" id="{3157A068-79B8-C8A0-50C5-742554A26383}"/>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FB141C00-626E-DA04-9DCF-DF3D66479AF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D7C89847-AA5D-2B93-A2EA-EF3106B893DF}"/>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46811454-1BF9-3D4F-5ED1-6E7E55322B65}"/>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AB6667DE-899E-8A1F-D3F1-91905CAB3F1D}"/>
              </a:ext>
            </a:extLst>
          </p:cNvPr>
          <p:cNvGraphicFramePr>
            <a:graphicFrameLocks noChangeAspect="1"/>
          </p:cNvGraphicFramePr>
          <p:nvPr userDrawn="1">
            <p:custDataLst>
              <p:tags r:id="rId2"/>
            </p:custDataLst>
            <p:extLst>
              <p:ext uri="{D42A27DB-BD31-4B8C-83A1-F6EECF244321}">
                <p14:modId xmlns:p14="http://schemas.microsoft.com/office/powerpoint/2010/main" val="212210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AB6667DE-899E-8A1F-D3F1-91905CAB3F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 Placeholder 7"/>
          <p:cNvSpPr>
            <a:spLocks noGrp="1"/>
          </p:cNvSpPr>
          <p:nvPr>
            <p:ph type="body" sz="quarter" idx="15"/>
          </p:nvPr>
        </p:nvSpPr>
        <p:spPr>
          <a:xfrm>
            <a:off x="5220000" y="1268759"/>
            <a:ext cx="4176000" cy="495647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1"/>
              </a:buClr>
              <a:defRPr sz="1100">
                <a:solidFill>
                  <a:schemeClr val="tx2"/>
                </a:solidFill>
                <a:latin typeface="+mn-lt"/>
                <a:ea typeface="Segoe UI" panose="020B0502040204020203" pitchFamily="34" charset="0"/>
                <a:cs typeface="Segoe UI" panose="020B0502040204020203" pitchFamily="34" charset="0"/>
              </a:defRPr>
            </a:lvl2pPr>
            <a:lvl3pPr rtl="0">
              <a:buClr>
                <a:schemeClr val="bg1"/>
              </a:buClr>
              <a:defRPr sz="1100">
                <a:solidFill>
                  <a:schemeClr val="tx2"/>
                </a:solidFill>
                <a:latin typeface="+mn-lt"/>
                <a:ea typeface="Segoe UI" panose="020B0502040204020203" pitchFamily="34" charset="0"/>
                <a:cs typeface="Segoe UI" panose="020B0502040204020203" pitchFamily="34" charset="0"/>
              </a:defRPr>
            </a:lvl3pPr>
            <a:lvl4pPr rtl="0">
              <a:buClr>
                <a:schemeClr val="bg1"/>
              </a:buClr>
              <a:defRPr sz="1100">
                <a:solidFill>
                  <a:schemeClr val="tx2"/>
                </a:solidFill>
                <a:latin typeface="+mn-lt"/>
                <a:ea typeface="Segoe UI" panose="020B0502040204020203" pitchFamily="34" charset="0"/>
                <a:cs typeface="Segoe UI" panose="020B0502040204020203" pitchFamily="34" charset="0"/>
              </a:defRPr>
            </a:lvl4pPr>
            <a:lvl5pPr rtl="0">
              <a:buClr>
                <a:schemeClr val="bg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tx2"/>
                </a:solidFill>
                <a:latin typeface="+mn-lt"/>
              </a:defRPr>
            </a:lvl1pPr>
          </a:lstStyle>
          <a:p>
            <a:pPr lvl="0"/>
            <a:r>
              <a:rPr lang="en-AU" noProof="0"/>
              <a:t>Title</a:t>
            </a:r>
          </a:p>
        </p:txBody>
      </p:sp>
      <p:sp>
        <p:nvSpPr>
          <p:cNvPr id="14" name="TextBox 1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p:cNvSpPr>
            <a:spLocks noGrp="1"/>
          </p:cNvSpPr>
          <p:nvPr>
            <p:ph type="title" hasCustomPrompt="1"/>
          </p:nvPr>
        </p:nvSpPr>
        <p:spPr>
          <a:xfrm>
            <a:off x="540000" y="397814"/>
            <a:ext cx="4104000"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5" name="Text Placeholder 5"/>
          <p:cNvSpPr>
            <a:spLocks noGrp="1"/>
          </p:cNvSpPr>
          <p:nvPr>
            <p:ph type="body" sz="quarter" idx="12" hasCustomPrompt="1"/>
          </p:nvPr>
        </p:nvSpPr>
        <p:spPr>
          <a:xfrm>
            <a:off x="540000" y="829763"/>
            <a:ext cx="4104000" cy="1080219"/>
          </a:xfrm>
        </p:spPr>
        <p:txBody>
          <a:bodyPr/>
          <a:lstStyle>
            <a:lvl1pPr rtl="0">
              <a:defRPr sz="1200">
                <a:solidFill>
                  <a:schemeClr val="tx1"/>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6" name="Text Placeholder 7"/>
          <p:cNvSpPr>
            <a:spLocks noGrp="1"/>
          </p:cNvSpPr>
          <p:nvPr>
            <p:ph type="body" sz="quarter" idx="13"/>
          </p:nvPr>
        </p:nvSpPr>
        <p:spPr>
          <a:xfrm>
            <a:off x="540000" y="1981990"/>
            <a:ext cx="4104000" cy="4243245"/>
          </a:xfrm>
        </p:spPr>
        <p:txBody>
          <a:bodyPr/>
          <a:lstStyle>
            <a:lvl1pPr rtl="0">
              <a:defRPr sz="1100">
                <a:solidFill>
                  <a:schemeClr val="tx1"/>
                </a:solidFill>
                <a:latin typeface="+mn-lt"/>
                <a:ea typeface="Segoe UI" panose="020B0502040204020203" pitchFamily="34" charset="0"/>
                <a:cs typeface="Segoe UI" panose="020B0502040204020203" pitchFamily="34" charset="0"/>
              </a:defRPr>
            </a:lvl1pPr>
            <a:lvl2pPr rtl="0">
              <a:buClr>
                <a:schemeClr val="tx1"/>
              </a:buClr>
              <a:defRPr sz="1100">
                <a:solidFill>
                  <a:schemeClr val="tx1"/>
                </a:solidFill>
                <a:latin typeface="+mn-lt"/>
                <a:ea typeface="Segoe UI" panose="020B0502040204020203" pitchFamily="34" charset="0"/>
                <a:cs typeface="Segoe UI" panose="020B0502040204020203" pitchFamily="34" charset="0"/>
              </a:defRPr>
            </a:lvl2pPr>
            <a:lvl3pPr rtl="0">
              <a:buClr>
                <a:schemeClr val="tx1"/>
              </a:buClr>
              <a:defRPr sz="1100">
                <a:solidFill>
                  <a:schemeClr val="tx1"/>
                </a:solidFill>
                <a:latin typeface="+mn-lt"/>
                <a:ea typeface="Segoe UI" panose="020B0502040204020203" pitchFamily="34" charset="0"/>
                <a:cs typeface="Segoe UI" panose="020B0502040204020203" pitchFamily="34" charset="0"/>
              </a:defRPr>
            </a:lvl3pPr>
            <a:lvl4pPr rtl="0">
              <a:buClr>
                <a:schemeClr val="tx1"/>
              </a:buClr>
              <a:defRPr sz="1100">
                <a:solidFill>
                  <a:schemeClr val="tx1"/>
                </a:solidFill>
                <a:latin typeface="+mn-lt"/>
                <a:ea typeface="Segoe UI" panose="020B0502040204020203" pitchFamily="34" charset="0"/>
                <a:cs typeface="Segoe UI" panose="020B0502040204020203" pitchFamily="34" charset="0"/>
              </a:defRPr>
            </a:lvl4pPr>
            <a:lvl5pPr rtl="0">
              <a:buClr>
                <a:schemeClr val="tx1"/>
              </a:buClr>
              <a:defRPr sz="1100">
                <a:solidFill>
                  <a:schemeClr val="tx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19633159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31557C-637E-EA2D-B504-C5763CF38CA3}"/>
              </a:ext>
            </a:extLst>
          </p:cNvPr>
          <p:cNvGraphicFramePr>
            <a:graphicFrameLocks noChangeAspect="1"/>
          </p:cNvGraphicFramePr>
          <p:nvPr userDrawn="1">
            <p:custDataLst>
              <p:tags r:id="rId2"/>
            </p:custDataLst>
            <p:extLst>
              <p:ext uri="{D42A27DB-BD31-4B8C-83A1-F6EECF244321}">
                <p14:modId xmlns:p14="http://schemas.microsoft.com/office/powerpoint/2010/main" val="101001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C31557C-637E-EA2D-B504-C5763CF38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p:cNvSpPr/>
          <p:nvPr userDrawn="1"/>
        </p:nvSpPr>
        <p:spPr>
          <a:xfrm>
            <a:off x="4953332" y="0"/>
            <a:ext cx="4952668"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sp>
        <p:nvSpPr>
          <p:cNvPr id="18" name="Title 1"/>
          <p:cNvSpPr>
            <a:spLocks noGrp="1"/>
          </p:cNvSpPr>
          <p:nvPr>
            <p:ph type="title" hasCustomPrompt="1"/>
          </p:nvPr>
        </p:nvSpPr>
        <p:spPr>
          <a:xfrm>
            <a:off x="540000" y="397814"/>
            <a:ext cx="4104000" cy="341618"/>
          </a:xfrm>
        </p:spPr>
        <p:txBody>
          <a:bodyPr vert="horz"/>
          <a:lstStyle>
            <a:lvl1pPr rtl="0">
              <a:lnSpc>
                <a:spcPct val="90000"/>
              </a:lnSpc>
              <a:defRPr sz="1800">
                <a:solidFill>
                  <a:schemeClr val="tx2"/>
                </a:solidFill>
                <a:latin typeface="+mj-lt"/>
              </a:defRPr>
            </a:lvl1pPr>
          </a:lstStyle>
          <a:p>
            <a:r>
              <a:rPr lang="en-AU" noProof="0"/>
              <a:t>Introduction</a:t>
            </a:r>
          </a:p>
        </p:txBody>
      </p:sp>
      <p:sp>
        <p:nvSpPr>
          <p:cNvPr id="19" name="Text Placeholder 5"/>
          <p:cNvSpPr>
            <a:spLocks noGrp="1"/>
          </p:cNvSpPr>
          <p:nvPr>
            <p:ph type="body" sz="quarter" idx="12" hasCustomPrompt="1"/>
          </p:nvPr>
        </p:nvSpPr>
        <p:spPr>
          <a:xfrm>
            <a:off x="540000" y="829763"/>
            <a:ext cx="4104000" cy="1080219"/>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20" name="Text Placeholder 7"/>
          <p:cNvSpPr>
            <a:spLocks noGrp="1"/>
          </p:cNvSpPr>
          <p:nvPr>
            <p:ph type="body" sz="quarter" idx="13"/>
          </p:nvPr>
        </p:nvSpPr>
        <p:spPr>
          <a:xfrm>
            <a:off x="540000" y="1981990"/>
            <a:ext cx="4104000" cy="424324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7"/>
          <p:cNvSpPr>
            <a:spLocks noGrp="1"/>
          </p:cNvSpPr>
          <p:nvPr>
            <p:ph type="body" sz="quarter" idx="15"/>
          </p:nvPr>
        </p:nvSpPr>
        <p:spPr>
          <a:xfrm>
            <a:off x="5220000" y="1268759"/>
            <a:ext cx="4176000" cy="4956475"/>
          </a:xfrm>
        </p:spPr>
        <p:txBody>
          <a:bodyPr/>
          <a:lstStyle>
            <a:lvl1pPr rtl="0">
              <a:defRPr sz="1100">
                <a:solidFill>
                  <a:schemeClr val="bg1"/>
                </a:solidFill>
                <a:latin typeface="+mn-lt"/>
                <a:ea typeface="Segoe UI" panose="020B0502040204020203" pitchFamily="34" charset="0"/>
                <a:cs typeface="Segoe UI" panose="020B0502040204020203" pitchFamily="34" charset="0"/>
              </a:defRPr>
            </a:lvl1pPr>
            <a:lvl2pPr rtl="0">
              <a:buClr>
                <a:schemeClr val="bg2"/>
              </a:buClr>
              <a:defRPr sz="1100">
                <a:solidFill>
                  <a:schemeClr val="bg1"/>
                </a:solidFill>
                <a:latin typeface="+mn-lt"/>
                <a:ea typeface="Segoe UI" panose="020B0502040204020203" pitchFamily="34" charset="0"/>
                <a:cs typeface="Segoe UI" panose="020B0502040204020203" pitchFamily="34" charset="0"/>
              </a:defRPr>
            </a:lvl2pPr>
            <a:lvl3pPr rtl="0">
              <a:buClr>
                <a:schemeClr val="bg2"/>
              </a:buClr>
              <a:defRPr sz="1100">
                <a:solidFill>
                  <a:schemeClr val="bg1"/>
                </a:solidFill>
                <a:latin typeface="+mn-lt"/>
                <a:ea typeface="Segoe UI" panose="020B0502040204020203" pitchFamily="34" charset="0"/>
                <a:cs typeface="Segoe UI" panose="020B0502040204020203" pitchFamily="34" charset="0"/>
              </a:defRPr>
            </a:lvl3pPr>
            <a:lvl4pPr rtl="0">
              <a:buClr>
                <a:schemeClr val="bg2"/>
              </a:buClr>
              <a:defRPr sz="1100">
                <a:solidFill>
                  <a:schemeClr val="bg1"/>
                </a:solidFill>
                <a:latin typeface="+mn-lt"/>
                <a:ea typeface="Segoe UI" panose="020B0502040204020203" pitchFamily="34" charset="0"/>
                <a:cs typeface="Segoe UI" panose="020B0502040204020203" pitchFamily="34" charset="0"/>
              </a:defRPr>
            </a:lvl4pPr>
            <a:lvl5pPr rtl="0">
              <a:buClr>
                <a:schemeClr val="bg2"/>
              </a:buClr>
              <a:defRPr sz="1100">
                <a:solidFill>
                  <a:schemeClr val="bg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3"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bg1"/>
                </a:solidFill>
                <a:latin typeface="+mn-lt"/>
              </a:defRPr>
            </a:lvl1pPr>
          </a:lstStyle>
          <a:p>
            <a:pPr lvl="0"/>
            <a:r>
              <a:rPr lang="en-AU" noProof="0"/>
              <a:t>Title</a:t>
            </a:r>
          </a:p>
        </p:txBody>
      </p:sp>
      <p:grpSp>
        <p:nvGrpSpPr>
          <p:cNvPr id="3" name="Group 2">
            <a:extLst>
              <a:ext uri="{FF2B5EF4-FFF2-40B4-BE49-F238E27FC236}">
                <a16:creationId xmlns:a16="http://schemas.microsoft.com/office/drawing/2014/main" id="{80F61F25-5266-8B0E-E157-8F1EE415271A}"/>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08D62FF4-40E6-60F8-7F92-283BA91B9DF2}"/>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A41D34FE-A1BC-F63D-2E98-31E7114D402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6" name="Freeform: Shape 5">
              <a:extLst>
                <a:ext uri="{FF2B5EF4-FFF2-40B4-BE49-F238E27FC236}">
                  <a16:creationId xmlns:a16="http://schemas.microsoft.com/office/drawing/2014/main" id="{AF9A9937-7F17-FC79-DD31-160F04F4025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7" name="TextBox 6">
            <a:extLst>
              <a:ext uri="{FF2B5EF4-FFF2-40B4-BE49-F238E27FC236}">
                <a16:creationId xmlns:a16="http://schemas.microsoft.com/office/drawing/2014/main" id="{CAF1C769-DE2E-7380-BC42-E097A7C01A0E}"/>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212585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C3DCF3-BBD9-182F-D774-4487095265BE}"/>
              </a:ext>
            </a:extLst>
          </p:cNvPr>
          <p:cNvGraphicFramePr>
            <a:graphicFrameLocks noChangeAspect="1"/>
          </p:cNvGraphicFramePr>
          <p:nvPr userDrawn="1">
            <p:custDataLst>
              <p:tags r:id="rId1"/>
            </p:custDataLst>
            <p:extLst>
              <p:ext uri="{D42A27DB-BD31-4B8C-83A1-F6EECF244321}">
                <p14:modId xmlns:p14="http://schemas.microsoft.com/office/powerpoint/2010/main" val="13814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6C3DCF3-BBD9-182F-D774-448709526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A301358-1E68-2A96-26E5-173FB5603BDE}"/>
              </a:ext>
            </a:extLst>
          </p:cNvPr>
          <p:cNvSpPr/>
          <p:nvPr userDrawn="1"/>
        </p:nvSpPr>
        <p:spPr>
          <a:xfrm>
            <a:off x="0" y="0"/>
            <a:ext cx="9906000" cy="6864260"/>
          </a:xfrm>
          <a:prstGeom prst="rect">
            <a:avLst/>
          </a:prstGeom>
          <a:solidFill>
            <a:srgbClr val="1F2A4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D2D4DA"/>
              </a:solidFill>
              <a:effectLst/>
              <a:uLnTx/>
              <a:uFillTx/>
              <a:latin typeface="Arial"/>
              <a:ea typeface="+mn-ea"/>
              <a:cs typeface="+mn-cs"/>
            </a:endParaRPr>
          </a:p>
        </p:txBody>
      </p:sp>
      <p:pic>
        <p:nvPicPr>
          <p:cNvPr id="13" name="BRV logo">
            <a:extLst>
              <a:ext uri="{FF2B5EF4-FFF2-40B4-BE49-F238E27FC236}">
                <a16:creationId xmlns:a16="http://schemas.microsoft.com/office/drawing/2014/main" id="{DCC4FF7B-BED5-C8BE-C3D8-12D24CAF89FF}"/>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7339263" y="522762"/>
            <a:ext cx="2037076" cy="466149"/>
          </a:xfrm>
          <a:prstGeom prst="rect">
            <a:avLst/>
          </a:prstGeom>
        </p:spPr>
      </p:pic>
      <p:pic>
        <p:nvPicPr>
          <p:cNvPr id="19" name="DTF logo">
            <a:extLst>
              <a:ext uri="{FF2B5EF4-FFF2-40B4-BE49-F238E27FC236}">
                <a16:creationId xmlns:a16="http://schemas.microsoft.com/office/drawing/2014/main" id="{73BF07E3-3CED-7B98-3310-975F6FEE425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048" y="522762"/>
            <a:ext cx="993370" cy="568841"/>
          </a:xfrm>
          <a:prstGeom prst="rect">
            <a:avLst/>
          </a:prstGeom>
        </p:spPr>
      </p:pic>
      <p:grpSp>
        <p:nvGrpSpPr>
          <p:cNvPr id="9" name="Graphic elements">
            <a:extLst>
              <a:ext uri="{FF2B5EF4-FFF2-40B4-BE49-F238E27FC236}">
                <a16:creationId xmlns:a16="http://schemas.microsoft.com/office/drawing/2014/main" id="{66002FA4-06E1-6E31-CA28-59854AFE3D77}"/>
              </a:ext>
            </a:extLst>
          </p:cNvPr>
          <p:cNvGrpSpPr/>
          <p:nvPr userDrawn="1"/>
        </p:nvGrpSpPr>
        <p:grpSpPr>
          <a:xfrm>
            <a:off x="5620201" y="4717205"/>
            <a:ext cx="4285799" cy="2147683"/>
            <a:chOff x="3535488" y="2524125"/>
            <a:chExt cx="8643185" cy="4331239"/>
          </a:xfrm>
        </p:grpSpPr>
        <p:sp>
          <p:nvSpPr>
            <p:cNvPr id="10" name="Freeform: Shape 9">
              <a:extLst>
                <a:ext uri="{FF2B5EF4-FFF2-40B4-BE49-F238E27FC236}">
                  <a16:creationId xmlns:a16="http://schemas.microsoft.com/office/drawing/2014/main" id="{CDD6D720-DCF6-87FE-F473-20B658F745BD}"/>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1" name="Freeform: Shape 10">
              <a:extLst>
                <a:ext uri="{FF2B5EF4-FFF2-40B4-BE49-F238E27FC236}">
                  <a16:creationId xmlns:a16="http://schemas.microsoft.com/office/drawing/2014/main" id="{5F49609D-B9B3-535D-45AF-4630D1099B2E}"/>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4" name="Freeform: Shape 13">
              <a:extLst>
                <a:ext uri="{FF2B5EF4-FFF2-40B4-BE49-F238E27FC236}">
                  <a16:creationId xmlns:a16="http://schemas.microsoft.com/office/drawing/2014/main" id="{1BA2D416-7C9D-CD5B-7D4A-D829913AF4B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5" name="Freeform: Shape 14">
              <a:extLst>
                <a:ext uri="{FF2B5EF4-FFF2-40B4-BE49-F238E27FC236}">
                  <a16:creationId xmlns:a16="http://schemas.microsoft.com/office/drawing/2014/main" id="{9FCAFCAB-EAEB-8872-7878-0FE84A80DD6A}"/>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grpSp>
      <p:sp>
        <p:nvSpPr>
          <p:cNvPr id="16" name="TextBox 15">
            <a:extLst>
              <a:ext uri="{FF2B5EF4-FFF2-40B4-BE49-F238E27FC236}">
                <a16:creationId xmlns:a16="http://schemas.microsoft.com/office/drawing/2014/main" id="{464E034B-84F6-F022-EEE1-4B966267A1A6}"/>
              </a:ext>
            </a:extLst>
          </p:cNvPr>
          <p:cNvSpPr txBox="1"/>
          <p:nvPr userDrawn="1"/>
        </p:nvSpPr>
        <p:spPr>
          <a:xfrm>
            <a:off x="510955" y="4618564"/>
            <a:ext cx="4855129" cy="1954381"/>
          </a:xfrm>
          <a:prstGeom prst="rect">
            <a:avLst/>
          </a:prstGeom>
          <a:noFill/>
        </p:spPr>
        <p:txBody>
          <a:bodyPr wrap="square" rtlCol="0">
            <a:spAutoFit/>
          </a:bodyPr>
          <a:lstStyle/>
          <a:p>
            <a:pPr defTabSz="914400"/>
            <a:r>
              <a:rPr lang="en-AU" sz="1100">
                <a:solidFill>
                  <a:prstClr val="white"/>
                </a:solidFill>
                <a:latin typeface="+mn-lt"/>
              </a:rPr>
              <a:t>© State of Victoria 2023</a:t>
            </a:r>
          </a:p>
          <a:p>
            <a:pPr defTabSz="914400"/>
            <a:r>
              <a:rPr lang="en-AU" sz="1100">
                <a:solidFill>
                  <a:prstClr val="white"/>
                </a:solidFill>
                <a:latin typeface="+mn-lt"/>
              </a:rPr>
              <a:t> </a:t>
            </a:r>
          </a:p>
          <a:p>
            <a:pPr defTabSz="914400"/>
            <a:endParaRPr lang="en-AU" sz="1100">
              <a:solidFill>
                <a:prstClr val="white"/>
              </a:solidFill>
              <a:latin typeface="+mn-lt"/>
            </a:endParaRPr>
          </a:p>
          <a:p>
            <a:pPr defTabSz="914400"/>
            <a:r>
              <a:rPr lang="en-AU" sz="1100">
                <a:solidFill>
                  <a:prstClr val="white"/>
                </a:solidFill>
                <a:latin typeface="+mn-lt"/>
              </a:rPr>
              <a:t>You are free to re-use this work under a Creative Commons Attribution 4.0 licence, provided you credit the State of Victoria (Department of Treasury and Finance) as author, indicate if changes were made and comply with the other licence terms. The licence does not apply to any branding, including Government logos.</a:t>
            </a:r>
          </a:p>
          <a:p>
            <a:pPr defTabSz="914400"/>
            <a:r>
              <a:rPr lang="en-AU" sz="1100">
                <a:solidFill>
                  <a:prstClr val="white"/>
                </a:solidFill>
                <a:latin typeface="+mn-lt"/>
              </a:rPr>
              <a:t> </a:t>
            </a:r>
          </a:p>
          <a:p>
            <a:pPr defTabSz="914400"/>
            <a:r>
              <a:rPr lang="en-AU" sz="1100">
                <a:solidFill>
                  <a:prstClr val="white"/>
                </a:solidFill>
                <a:latin typeface="+mn-lt"/>
              </a:rPr>
              <a:t>Copyright queries may be directed to IPpolicy@dtf.vic.gov.au</a:t>
            </a:r>
          </a:p>
          <a:p>
            <a:pPr defTabSz="914400"/>
            <a:endParaRPr lang="en-AU" sz="1100">
              <a:solidFill>
                <a:prstClr val="white"/>
              </a:solidFill>
              <a:latin typeface="+mn-lt"/>
            </a:endParaRPr>
          </a:p>
        </p:txBody>
      </p:sp>
    </p:spTree>
    <p:extLst>
      <p:ext uri="{BB962C8B-B14F-4D97-AF65-F5344CB8AC3E}">
        <p14:creationId xmlns:p14="http://schemas.microsoft.com/office/powerpoint/2010/main" val="954092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Blue">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5" name="Group 4">
            <a:extLst>
              <a:ext uri="{FF2B5EF4-FFF2-40B4-BE49-F238E27FC236}">
                <a16:creationId xmlns:a16="http://schemas.microsoft.com/office/drawing/2014/main" id="{03FC33C3-0039-A536-26A1-7DBB0C12B4D7}"/>
              </a:ext>
            </a:extLst>
          </p:cNvPr>
          <p:cNvGrpSpPr/>
          <p:nvPr userDrawn="1"/>
        </p:nvGrpSpPr>
        <p:grpSpPr>
          <a:xfrm>
            <a:off x="8716488" y="5668488"/>
            <a:ext cx="1193470" cy="1193470"/>
            <a:chOff x="10069009" y="2893384"/>
            <a:chExt cx="1704975" cy="1704975"/>
          </a:xfrm>
        </p:grpSpPr>
        <p:sp>
          <p:nvSpPr>
            <p:cNvPr id="6" name="Freeform: Shape 5">
              <a:extLst>
                <a:ext uri="{FF2B5EF4-FFF2-40B4-BE49-F238E27FC236}">
                  <a16:creationId xmlns:a16="http://schemas.microsoft.com/office/drawing/2014/main" id="{34399B94-C3DB-8B52-2B00-C3C256B735E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A4DCBED-3105-F2FB-5EE6-00977F3E1554}"/>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1E8FFA23-9D0B-26B0-88A2-37417927A4C8}"/>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067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s_V2">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6FBBB4E-D1DE-12F6-6640-9D524BC9C77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52D84F24-9854-56BF-C9E9-236C355B30C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21" name="Graphic elements">
            <a:extLst>
              <a:ext uri="{FF2B5EF4-FFF2-40B4-BE49-F238E27FC236}">
                <a16:creationId xmlns:a16="http://schemas.microsoft.com/office/drawing/2014/main" id="{0F548CEA-F268-82E5-9CB0-2DE13FA17342}"/>
              </a:ext>
            </a:extLst>
          </p:cNvPr>
          <p:cNvGrpSpPr/>
          <p:nvPr userDrawn="1"/>
        </p:nvGrpSpPr>
        <p:grpSpPr>
          <a:xfrm>
            <a:off x="8355768" y="6080215"/>
            <a:ext cx="1555548" cy="777785"/>
            <a:chOff x="3532313" y="2524125"/>
            <a:chExt cx="8656007" cy="4328064"/>
          </a:xfrm>
        </p:grpSpPr>
        <p:sp>
          <p:nvSpPr>
            <p:cNvPr id="22" name="Freeform: Shape 21">
              <a:extLst>
                <a:ext uri="{FF2B5EF4-FFF2-40B4-BE49-F238E27FC236}">
                  <a16:creationId xmlns:a16="http://schemas.microsoft.com/office/drawing/2014/main" id="{427F12B7-6790-EFED-A678-B8027475EEED}"/>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9AD0A7CE-6F1C-4065-445B-686D6326271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3B2E1916-BFB4-F318-D59F-E05ABB5C393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C9B27873-12CA-9831-4899-88547A29A9B2}"/>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9AC8B6CC-E77C-4FBA-B91C-541938801D4E}"/>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9506873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Grey">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0883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
          <p:cNvSpPr>
            <a:spLocks noGrp="1"/>
          </p:cNvSpPr>
          <p:nvPr>
            <p:ph sz="quarter" idx="13" hasCustomPrompt="1"/>
          </p:nvPr>
        </p:nvSpPr>
        <p:spPr>
          <a:xfrm>
            <a:off x="540000" y="1268760"/>
            <a:ext cx="8820000" cy="491938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lvl1pPr>
            <a:lvl2pPr marL="504000" indent="-252000" rtl="0">
              <a:spcAft>
                <a:spcPts val="600"/>
              </a:spcAft>
              <a:buClr>
                <a:schemeClr val="bg2"/>
              </a:buClr>
              <a:buFont typeface="Segoe UI" panose="020B0502040204020203" pitchFamily="34" charset="0"/>
              <a:buChar char="–"/>
              <a:defRPr sz="1200"/>
            </a:lvl2pPr>
            <a:lvl3pPr marL="756000" indent="-252000" rtl="0">
              <a:spcAft>
                <a:spcPts val="600"/>
              </a:spcAft>
              <a:buClr>
                <a:schemeClr val="bg2"/>
              </a:buClr>
              <a:buFont typeface="Arial" panose="020B0604020202020204" pitchFamily="34" charset="0"/>
              <a:buChar char="•"/>
              <a:defRPr sz="1200"/>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CDCB83E6-1DC4-BAE4-C071-65086FF2A8F3}"/>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3FB1B121-9C26-654D-787D-92A288A8A31A}"/>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5869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ith 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9B17D7-DE8A-C9AA-8E8D-01786E847CEA}"/>
              </a:ext>
            </a:extLst>
          </p:cNvPr>
          <p:cNvGraphicFramePr>
            <a:graphicFrameLocks noChangeAspect="1"/>
          </p:cNvGraphicFramePr>
          <p:nvPr userDrawn="1">
            <p:custDataLst>
              <p:tags r:id="rId2"/>
            </p:custDataLst>
            <p:extLst>
              <p:ext uri="{D42A27DB-BD31-4B8C-83A1-F6EECF244321}">
                <p14:modId xmlns:p14="http://schemas.microsoft.com/office/powerpoint/2010/main" val="102893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7F9B17D7-DE8A-C9AA-8E8D-01786E847C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548681"/>
            <a:ext cx="7836062"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grpSp>
        <p:nvGrpSpPr>
          <p:cNvPr id="4" name="Group 3">
            <a:extLst>
              <a:ext uri="{FF2B5EF4-FFF2-40B4-BE49-F238E27FC236}">
                <a16:creationId xmlns:a16="http://schemas.microsoft.com/office/drawing/2014/main" id="{2C883C5C-29AD-722C-2BA4-D71A735F0673}"/>
              </a:ext>
            </a:extLst>
          </p:cNvPr>
          <p:cNvGrpSpPr/>
          <p:nvPr userDrawn="1"/>
        </p:nvGrpSpPr>
        <p:grpSpPr>
          <a:xfrm>
            <a:off x="8627258" y="0"/>
            <a:ext cx="1282700" cy="6861958"/>
            <a:chOff x="11229975" y="1714500"/>
            <a:chExt cx="962025" cy="5143500"/>
          </a:xfrm>
        </p:grpSpPr>
        <p:sp>
          <p:nvSpPr>
            <p:cNvPr id="6" name="Freeform: Shape 5">
              <a:extLst>
                <a:ext uri="{FF2B5EF4-FFF2-40B4-BE49-F238E27FC236}">
                  <a16:creationId xmlns:a16="http://schemas.microsoft.com/office/drawing/2014/main" id="{02DC3626-81BE-710D-4D68-84AE67D71B45}"/>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BA2E25F8-5768-5E7D-18A5-05456EF811FB}"/>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7879605" cy="300037"/>
          </a:xfrm>
        </p:spPr>
        <p:txBody>
          <a:bodyPr anchor="ctr"/>
          <a:lstStyle>
            <a:lvl1pPr rtl="0">
              <a:defRPr sz="800">
                <a:solidFill>
                  <a:schemeClr val="tx1"/>
                </a:solidFill>
              </a:defRPr>
            </a:lvl1pPr>
          </a:lstStyle>
          <a:p>
            <a:pPr lvl="0"/>
            <a:r>
              <a:rPr lang="en-AU" noProof="0"/>
              <a:t>Source</a:t>
            </a:r>
          </a:p>
        </p:txBody>
      </p:sp>
      <p:cxnSp>
        <p:nvCxnSpPr>
          <p:cNvPr id="8" name="Straight Connector 7">
            <a:extLst>
              <a:ext uri="{FF2B5EF4-FFF2-40B4-BE49-F238E27FC236}">
                <a16:creationId xmlns:a16="http://schemas.microsoft.com/office/drawing/2014/main" id="{820A0974-16D5-3CB7-961E-B441D9BD508A}"/>
              </a:ext>
            </a:extLst>
          </p:cNvPr>
          <p:cNvCxnSpPr>
            <a:cxnSpLocks/>
          </p:cNvCxnSpPr>
          <p:nvPr userDrawn="1"/>
        </p:nvCxnSpPr>
        <p:spPr>
          <a:xfrm>
            <a:off x="539998" y="980309"/>
            <a:ext cx="783606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8960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nav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bg1"/>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bg1"/>
                </a:solidFill>
              </a:defRPr>
            </a:lvl1pPr>
            <a:lvl2pPr rtl="0">
              <a:defRPr sz="1100">
                <a:solidFill>
                  <a:schemeClr val="bg1"/>
                </a:solidFill>
              </a:defRPr>
            </a:lvl2pPr>
            <a:lvl3pPr rtl="0">
              <a:defRPr sz="1100">
                <a:solidFill>
                  <a:schemeClr val="bg1"/>
                </a:solidFill>
              </a:defRPr>
            </a:lvl3pPr>
            <a:lvl4pPr rtl="0">
              <a:defRPr sz="1100">
                <a:solidFill>
                  <a:schemeClr val="bg1"/>
                </a:solidFill>
              </a:defRPr>
            </a:lvl4pPr>
            <a:lvl5pPr rtl="0">
              <a:defRPr sz="11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E82BA6E-CAA3-8344-A0AF-425A459F8A42}"/>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9498C920-F0CD-AA6F-63FC-56569A3A52EC}"/>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0CED8651-68EB-F51D-BB18-FBF0176E350A}"/>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41D7248A-3853-E50C-D555-F4F392E84D93}"/>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012C53C6-66BB-3B3F-95AB-AE28A969AA9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DE702F51-4A7D-A163-25FF-6FE4D24A2718}"/>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4E1BDB9-821C-0755-79D3-A7F06C0BFAA3}"/>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58D7E3A-BB32-775A-A1E6-F55EE597B002}"/>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4406641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77487EB7-AE92-5F79-6E1F-97BDE6E585C7}"/>
              </a:ext>
            </a:extLst>
          </p:cNvPr>
          <p:cNvGrpSpPr/>
          <p:nvPr userDrawn="1"/>
        </p:nvGrpSpPr>
        <p:grpSpPr>
          <a:xfrm>
            <a:off x="8355768" y="6080215"/>
            <a:ext cx="1555548" cy="777785"/>
            <a:chOff x="8355768" y="6080215"/>
            <a:chExt cx="1555548" cy="777785"/>
          </a:xfrm>
        </p:grpSpPr>
        <p:sp>
          <p:nvSpPr>
            <p:cNvPr id="9" name="TextBox 8">
              <a:extLst>
                <a:ext uri="{FF2B5EF4-FFF2-40B4-BE49-F238E27FC236}">
                  <a16:creationId xmlns:a16="http://schemas.microsoft.com/office/drawing/2014/main" id="{C814A1BB-3334-016A-9F1C-21BD251457C7}"/>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E6FB17C8-2B21-4EBF-2C33-8DA5F9093B9A}"/>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FD330FA6-DC15-3487-7093-FE4A7A2F39D2}"/>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D6CEE269-DAC7-2ECD-D0A7-5150BA9B9884}"/>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62CE445-3BFA-E061-6877-C0BBEDCE901D}"/>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9BE19E1D-3682-A736-91CC-93D577DB59C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671DF4B-1D6E-C39E-EA09-FF4D8DEAD520}"/>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4C78D134-F7C9-6B7F-94AF-5E634D81B413}"/>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grpSp>
    </p:spTree>
    <p:extLst>
      <p:ext uri="{BB962C8B-B14F-4D97-AF65-F5344CB8AC3E}">
        <p14:creationId xmlns:p14="http://schemas.microsoft.com/office/powerpoint/2010/main" val="341299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6"/>
            </p:custDataLst>
            <p:extLst>
              <p:ext uri="{D42A27DB-BD31-4B8C-83A1-F6EECF244321}">
                <p14:modId xmlns:p14="http://schemas.microsoft.com/office/powerpoint/2010/main" val="607887213"/>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4" name="Object 3" hidden="1"/>
                      <p:cNvPicPr/>
                      <p:nvPr/>
                    </p:nvPicPr>
                    <p:blipFill>
                      <a:blip r:embed="rId38"/>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40215" y="403200"/>
            <a:ext cx="8824911" cy="400095"/>
          </a:xfrm>
          <a:prstGeom prst="rect">
            <a:avLst/>
          </a:prstGeom>
        </p:spPr>
        <p:txBody>
          <a:bodyPr vert="horz" lIns="0" tIns="45713" rIns="0" bIns="45713" rtlCol="0" anchor="t" anchorCtr="0">
            <a:spAutoFit/>
          </a:bodyPr>
          <a:lstStyle/>
          <a:p>
            <a:r>
              <a:rPr lang="en-AU" noProof="0"/>
              <a:t>Governing thought</a:t>
            </a:r>
          </a:p>
        </p:txBody>
      </p:sp>
      <p:sp>
        <p:nvSpPr>
          <p:cNvPr id="3" name="Text Placeholder 2"/>
          <p:cNvSpPr>
            <a:spLocks noGrp="1"/>
          </p:cNvSpPr>
          <p:nvPr>
            <p:ph type="body" idx="1"/>
          </p:nvPr>
        </p:nvSpPr>
        <p:spPr>
          <a:xfrm>
            <a:off x="540000" y="1845192"/>
            <a:ext cx="8823600" cy="4030009"/>
          </a:xfrm>
          <a:prstGeom prst="rect">
            <a:avLst/>
          </a:prstGeom>
        </p:spPr>
        <p:txBody>
          <a:bodyPr vert="horz" lIns="0" tIns="45713" rIns="0" bIns="45713" rtlCol="0">
            <a:noAutofit/>
          </a:bodyPr>
          <a:lstStyle/>
          <a:p>
            <a:pPr lvl="0"/>
            <a:r>
              <a:rPr lang="en-AU" noProof="0"/>
              <a:t>Body</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 level</a:t>
            </a:r>
          </a:p>
        </p:txBody>
      </p:sp>
      <p:sp>
        <p:nvSpPr>
          <p:cNvPr id="5" name="TextBox 4">
            <a:extLst>
              <a:ext uri="{FF2B5EF4-FFF2-40B4-BE49-F238E27FC236}">
                <a16:creationId xmlns:a16="http://schemas.microsoft.com/office/drawing/2014/main" id="{EC4C8ABF-22BF-94D3-FDDA-A9282A770A78}"/>
              </a:ext>
            </a:extLst>
          </p:cNvPr>
          <p:cNvSpPr txBox="1"/>
          <p:nvPr userDrawn="1"/>
        </p:nvSpPr>
        <p:spPr>
          <a:xfrm>
            <a:off x="540000" y="6315374"/>
            <a:ext cx="4226872" cy="413764"/>
          </a:xfrm>
          <a:prstGeom prst="rect">
            <a:avLst/>
          </a:prstGeom>
          <a:noFill/>
        </p:spPr>
        <p:txBody>
          <a:bodyPr wrap="square" lIns="36000" tIns="36000" rIns="36000" bIns="36000" rtlCol="0">
            <a:noAutofit/>
          </a:bodyPr>
          <a:lstStyle/>
          <a:p>
            <a:pPr algn="l"/>
            <a:r>
              <a:rPr lang="en-AU" sz="950" b="0" i="1">
                <a:solidFill>
                  <a:schemeClr val="tx2"/>
                </a:solidFill>
              </a:rPr>
              <a:t>This document has been developed based on content tailored for a specific regulator. Refer to this document as guidance and consider how it may apply to your context.</a:t>
            </a:r>
          </a:p>
        </p:txBody>
      </p:sp>
      <p:sp>
        <p:nvSpPr>
          <p:cNvPr id="7" name="TextBox 6">
            <a:extLst>
              <a:ext uri="{FF2B5EF4-FFF2-40B4-BE49-F238E27FC236}">
                <a16:creationId xmlns:a16="http://schemas.microsoft.com/office/drawing/2014/main" id="{5BD4979F-578C-6DCD-D721-C2DEE0A936F0}"/>
              </a:ext>
            </a:extLst>
          </p:cNvPr>
          <p:cNvSpPr txBox="1"/>
          <p:nvPr userDrawn="1">
            <p:extLst>
              <p:ext uri="{1162E1C5-73C7-4A58-AE30-91384D911F3F}">
                <p184:classification xmlns:p184="http://schemas.microsoft.com/office/powerpoint/2018/4/main" val="ftr"/>
              </p:ext>
            </p:extLst>
          </p:nvPr>
        </p:nvSpPr>
        <p:spPr>
          <a:xfrm>
            <a:off x="63500" y="6626860"/>
            <a:ext cx="534988" cy="167640"/>
          </a:xfrm>
          <a:prstGeom prst="rect">
            <a:avLst/>
          </a:prstGeom>
        </p:spPr>
        <p:txBody>
          <a:bodyPr horzOverflow="overflow" lIns="0" tIns="0" rIns="0" bIns="0">
            <a:spAutoFit/>
          </a:bodyPr>
          <a:lstStyle/>
          <a:p>
            <a:pPr algn="l"/>
            <a:r>
              <a:rPr lang="en-AU" sz="11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04" r:id="rId3"/>
    <p:sldLayoutId id="2147483684" r:id="rId4"/>
    <p:sldLayoutId id="2147483791" r:id="rId5"/>
    <p:sldLayoutId id="2147483685" r:id="rId6"/>
    <p:sldLayoutId id="2147483672" r:id="rId7"/>
    <p:sldLayoutId id="2147483781" r:id="rId8"/>
    <p:sldLayoutId id="2147483787" r:id="rId9"/>
    <p:sldLayoutId id="2147483789" r:id="rId10"/>
    <p:sldLayoutId id="2147483786" r:id="rId11"/>
    <p:sldLayoutId id="2147483771" r:id="rId12"/>
    <p:sldLayoutId id="2147483790" r:id="rId13"/>
    <p:sldLayoutId id="2147483801" r:id="rId14"/>
    <p:sldLayoutId id="2147483772" r:id="rId15"/>
    <p:sldLayoutId id="2147483796" r:id="rId16"/>
    <p:sldLayoutId id="2147483793" r:id="rId17"/>
    <p:sldLayoutId id="2147483797" r:id="rId18"/>
    <p:sldLayoutId id="2147483794" r:id="rId19"/>
    <p:sldLayoutId id="2147483798" r:id="rId20"/>
    <p:sldLayoutId id="2147483795" r:id="rId21"/>
    <p:sldLayoutId id="2147483799" r:id="rId22"/>
    <p:sldLayoutId id="2147483792" r:id="rId23"/>
    <p:sldLayoutId id="2147483800" r:id="rId24"/>
    <p:sldLayoutId id="2147483692" r:id="rId25"/>
    <p:sldLayoutId id="2147483725" r:id="rId26"/>
    <p:sldLayoutId id="2147483726" r:id="rId27"/>
    <p:sldLayoutId id="2147483755" r:id="rId28"/>
    <p:sldLayoutId id="2147483745" r:id="rId29"/>
    <p:sldLayoutId id="2147483760" r:id="rId30"/>
    <p:sldLayoutId id="2147483763" r:id="rId31"/>
    <p:sldLayoutId id="2147483676" r:id="rId32"/>
    <p:sldLayoutId id="2147483687" r:id="rId33"/>
    <p:sldLayoutId id="2147483788" r:id="rId34"/>
  </p:sldLayoutIdLst>
  <p:hf sldNum="0" hdr="0" ftr="0" dt="0"/>
  <p:txStyles>
    <p:title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p:titleStyle>
    <p:bodyStyle>
      <a:lvl1pPr marL="0" indent="0" algn="l" defTabSz="914349" rtl="0" eaLnBrk="1" latinLnBrk="0" hangingPunct="1">
        <a:spcBef>
          <a:spcPts val="1200"/>
        </a:spcBef>
        <a:buFont typeface="Arial" pitchFamily="34" charset="0"/>
        <a:buNone/>
        <a:defRPr sz="1400" kern="1200" spc="0">
          <a:solidFill>
            <a:schemeClr val="bg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1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xml"/><Relationship Id="rId1" Type="http://schemas.openxmlformats.org/officeDocument/2006/relationships/tags" Target="../tags/tag37.xml"/><Relationship Id="rId5" Type="http://schemas.openxmlformats.org/officeDocument/2006/relationships/image" Target="../media/image10.emf"/><Relationship Id="rId4" Type="http://schemas.openxmlformats.org/officeDocument/2006/relationships/oleObject" Target="../embeddings/oleObject36.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38.xml"/><Relationship Id="rId5" Type="http://schemas.openxmlformats.org/officeDocument/2006/relationships/image" Target="../media/image11.emf"/><Relationship Id="rId4" Type="http://schemas.openxmlformats.org/officeDocument/2006/relationships/oleObject" Target="../embeddings/oleObject3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39.xml"/><Relationship Id="rId5" Type="http://schemas.openxmlformats.org/officeDocument/2006/relationships/image" Target="../media/image11.emf"/><Relationship Id="rId4" Type="http://schemas.openxmlformats.org/officeDocument/2006/relationships/oleObject" Target="../embeddings/oleObject37.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4.xml"/><Relationship Id="rId1" Type="http://schemas.openxmlformats.org/officeDocument/2006/relationships/tags" Target="../tags/tag40.xml"/><Relationship Id="rId4" Type="http://schemas.openxmlformats.org/officeDocument/2006/relationships/image" Target="../media/image12.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41.xml"/><Relationship Id="rId5" Type="http://schemas.openxmlformats.org/officeDocument/2006/relationships/image" Target="../media/image12.emf"/><Relationship Id="rId4" Type="http://schemas.openxmlformats.org/officeDocument/2006/relationships/oleObject" Target="../embeddings/oleObject3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4.xml"/><Relationship Id="rId1" Type="http://schemas.openxmlformats.org/officeDocument/2006/relationships/tags" Target="../tags/tag42.xml"/><Relationship Id="rId4" Type="http://schemas.openxmlformats.org/officeDocument/2006/relationships/image" Target="../media/image1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4.xml"/><Relationship Id="rId1" Type="http://schemas.openxmlformats.org/officeDocument/2006/relationships/tags" Target="../tags/tag43.xml"/><Relationship Id="rId4" Type="http://schemas.openxmlformats.org/officeDocument/2006/relationships/image" Target="../media/image12.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3557D91-2EBE-9A9B-7BA0-F901A912382B}"/>
              </a:ext>
            </a:extLst>
          </p:cNvPr>
          <p:cNvSpPr/>
          <p:nvPr/>
        </p:nvSpPr>
        <p:spPr>
          <a:xfrm>
            <a:off x="-1149" y="-24252"/>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4" name="Graphic elements">
            <a:extLst>
              <a:ext uri="{FF2B5EF4-FFF2-40B4-BE49-F238E27FC236}">
                <a16:creationId xmlns:a16="http://schemas.microsoft.com/office/drawing/2014/main" id="{FBF82247-58A5-7D2B-7F48-249373145B80}"/>
              </a:ext>
            </a:extLst>
          </p:cNvPr>
          <p:cNvGrpSpPr/>
          <p:nvPr/>
        </p:nvGrpSpPr>
        <p:grpSpPr>
          <a:xfrm flipH="1">
            <a:off x="0" y="5091544"/>
            <a:ext cx="2139886" cy="1072331"/>
            <a:chOff x="3535488" y="2524125"/>
            <a:chExt cx="8643185" cy="4331239"/>
          </a:xfrm>
        </p:grpSpPr>
        <p:sp>
          <p:nvSpPr>
            <p:cNvPr id="5" name="Freeform: Shape 4">
              <a:extLst>
                <a:ext uri="{FF2B5EF4-FFF2-40B4-BE49-F238E27FC236}">
                  <a16:creationId xmlns:a16="http://schemas.microsoft.com/office/drawing/2014/main" id="{AEDCDA9C-AA5C-0EE9-2A19-B768B22EA235}"/>
                </a:ext>
              </a:extLst>
            </p:cNvPr>
            <p:cNvSpPr/>
            <p:nvPr/>
          </p:nvSpPr>
          <p:spPr>
            <a:xfrm rot="18900000">
              <a:off x="6330084" y="3128498"/>
              <a:ext cx="3060347" cy="3060344"/>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endParaRPr lang="en-AU"/>
            </a:p>
          </p:txBody>
        </p:sp>
        <p:sp>
          <p:nvSpPr>
            <p:cNvPr id="6" name="Freeform: Shape 5">
              <a:extLst>
                <a:ext uri="{FF2B5EF4-FFF2-40B4-BE49-F238E27FC236}">
                  <a16:creationId xmlns:a16="http://schemas.microsoft.com/office/drawing/2014/main" id="{5E14F3BE-4A97-FA72-D36D-CCAD9E58D0AC}"/>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EB05E67D-D648-B250-6232-79A27F44642D}"/>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8" name="Freeform: Shape 7">
              <a:extLst>
                <a:ext uri="{FF2B5EF4-FFF2-40B4-BE49-F238E27FC236}">
                  <a16:creationId xmlns:a16="http://schemas.microsoft.com/office/drawing/2014/main" id="{956E2996-6D75-5F3D-06B8-703B3C6D69EA}"/>
                </a:ext>
              </a:extLst>
            </p:cNvPr>
            <p:cNvSpPr/>
            <p:nvPr/>
          </p:nvSpPr>
          <p:spPr>
            <a:xfrm>
              <a:off x="7850731" y="4649683"/>
              <a:ext cx="4327942" cy="2164030"/>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endParaRPr lang="en-AU"/>
            </a:p>
          </p:txBody>
        </p:sp>
      </p:grpSp>
      <p:sp>
        <p:nvSpPr>
          <p:cNvPr id="9" name="Text Placeholder 3">
            <a:extLst>
              <a:ext uri="{FF2B5EF4-FFF2-40B4-BE49-F238E27FC236}">
                <a16:creationId xmlns:a16="http://schemas.microsoft.com/office/drawing/2014/main" id="{EC7C2BED-2407-5028-C4AF-EF23897CE63F}"/>
              </a:ext>
            </a:extLst>
          </p:cNvPr>
          <p:cNvSpPr>
            <a:spLocks noGrp="1"/>
          </p:cNvSpPr>
          <p:nvPr>
            <p:ph type="body" sz="quarter" idx="10"/>
          </p:nvPr>
        </p:nvSpPr>
        <p:spPr>
          <a:xfrm>
            <a:off x="533394" y="3328986"/>
            <a:ext cx="8517300" cy="806181"/>
          </a:xfrm>
        </p:spPr>
        <p:txBody>
          <a:bodyPr/>
          <a:lstStyle/>
          <a:p>
            <a:r>
              <a:rPr lang="en-AU" b="1" dirty="0"/>
              <a:t>GUIDANCE ON TRIGGERING INSPECTIONS FROM COMPLAINTS AND REFERRALS</a:t>
            </a:r>
          </a:p>
        </p:txBody>
      </p:sp>
      <p:sp>
        <p:nvSpPr>
          <p:cNvPr id="10" name="Text Placeholder 4">
            <a:extLst>
              <a:ext uri="{FF2B5EF4-FFF2-40B4-BE49-F238E27FC236}">
                <a16:creationId xmlns:a16="http://schemas.microsoft.com/office/drawing/2014/main" id="{943ECE6E-897E-B14C-3F86-EDF303FB621E}"/>
              </a:ext>
            </a:extLst>
          </p:cNvPr>
          <p:cNvSpPr txBox="1">
            <a:spLocks/>
          </p:cNvSpPr>
          <p:nvPr/>
        </p:nvSpPr>
        <p:spPr>
          <a:xfrm>
            <a:off x="533394" y="4090753"/>
            <a:ext cx="5674573" cy="535773"/>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200" dirty="0">
                <a:cs typeface="Segoe UI"/>
              </a:rPr>
              <a:t>A tool to support regulators establish a consistent process for considering inspection triggers. </a:t>
            </a:r>
          </a:p>
        </p:txBody>
      </p:sp>
      <p:pic>
        <p:nvPicPr>
          <p:cNvPr id="12" name="Picture 11">
            <a:extLst>
              <a:ext uri="{FF2B5EF4-FFF2-40B4-BE49-F238E27FC236}">
                <a16:creationId xmlns:a16="http://schemas.microsoft.com/office/drawing/2014/main" id="{F9561050-3362-4438-16AB-CFAEBA37F032}"/>
              </a:ext>
            </a:extLst>
          </p:cNvPr>
          <p:cNvPicPr>
            <a:picLocks noChangeAspect="1"/>
          </p:cNvPicPr>
          <p:nvPr/>
        </p:nvPicPr>
        <p:blipFill>
          <a:blip r:embed="rId2"/>
          <a:stretch>
            <a:fillRect/>
          </a:stretch>
        </p:blipFill>
        <p:spPr>
          <a:xfrm>
            <a:off x="7533455" y="409688"/>
            <a:ext cx="2199580" cy="566016"/>
          </a:xfrm>
          <a:prstGeom prst="rect">
            <a:avLst/>
          </a:prstGeom>
        </p:spPr>
      </p:pic>
      <p:pic>
        <p:nvPicPr>
          <p:cNvPr id="13" name="Picture 12">
            <a:extLst>
              <a:ext uri="{FF2B5EF4-FFF2-40B4-BE49-F238E27FC236}">
                <a16:creationId xmlns:a16="http://schemas.microsoft.com/office/drawing/2014/main" id="{C0B9FF5C-3914-D030-907D-6FFB77FAB83A}"/>
              </a:ext>
            </a:extLst>
          </p:cNvPr>
          <p:cNvPicPr>
            <a:picLocks noChangeAspect="1"/>
          </p:cNvPicPr>
          <p:nvPr/>
        </p:nvPicPr>
        <p:blipFill>
          <a:blip r:embed="rId3"/>
          <a:stretch>
            <a:fillRect/>
          </a:stretch>
        </p:blipFill>
        <p:spPr>
          <a:xfrm>
            <a:off x="6066514" y="170804"/>
            <a:ext cx="1466941" cy="1043784"/>
          </a:xfrm>
          <a:prstGeom prst="rect">
            <a:avLst/>
          </a:prstGeom>
        </p:spPr>
      </p:pic>
    </p:spTree>
    <p:extLst>
      <p:ext uri="{BB962C8B-B14F-4D97-AF65-F5344CB8AC3E}">
        <p14:creationId xmlns:p14="http://schemas.microsoft.com/office/powerpoint/2010/main" val="37352863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E778895-E15C-06DA-F496-F0BF927376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8" name="think-cell data - do not delete" hidden="1">
                        <a:extLst>
                          <a:ext uri="{FF2B5EF4-FFF2-40B4-BE49-F238E27FC236}">
                            <a16:creationId xmlns:a16="http://schemas.microsoft.com/office/drawing/2014/main" id="{5E778895-E15C-06DA-F496-F0BF927376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FB2D641F-7EE6-BED9-C5FC-DF6B9F5C3E5D}"/>
              </a:ext>
            </a:extLst>
          </p:cNvPr>
          <p:cNvSpPr>
            <a:spLocks noGrp="1"/>
          </p:cNvSpPr>
          <p:nvPr>
            <p:ph sz="quarter" idx="15"/>
          </p:nvPr>
        </p:nvSpPr>
        <p:spPr>
          <a:xfrm>
            <a:off x="540001" y="1220343"/>
            <a:ext cx="5896518" cy="2314793"/>
          </a:xfrm>
        </p:spPr>
        <p:txBody>
          <a:bodyPr vert="horz" lIns="0" tIns="45713" rIns="0" bIns="45713" rtlCol="0" anchor="t">
            <a:noAutofit/>
          </a:bodyPr>
          <a:lstStyle/>
          <a:p>
            <a:pPr>
              <a:spcBef>
                <a:spcPts val="500"/>
              </a:spcBef>
            </a:pPr>
            <a:r>
              <a:rPr lang="en-AU" sz="1200" dirty="0">
                <a:cs typeface="Segoe UI"/>
              </a:rPr>
              <a:t>For most inspections, there will be a piece of information, a decision or an indicator that commences the inspection process. This is referred to as the ‘trigger’. The </a:t>
            </a:r>
            <a:r>
              <a:rPr lang="en-AU" sz="1200" dirty="0">
                <a:latin typeface="VIC SemiBold" panose="00000700000000000000" pitchFamily="50" charset="0"/>
                <a:cs typeface="Segoe UI"/>
              </a:rPr>
              <a:t>trigger </a:t>
            </a:r>
            <a:r>
              <a:rPr lang="en-AU" sz="1200" dirty="0">
                <a:cs typeface="Segoe UI"/>
              </a:rPr>
              <a:t>will inform the focus of inspections and begin the inspection workflow in digital systems. </a:t>
            </a:r>
          </a:p>
          <a:p>
            <a:pPr>
              <a:spcBef>
                <a:spcPts val="500"/>
              </a:spcBef>
            </a:pPr>
            <a:r>
              <a:rPr lang="en-AU" sz="1200" dirty="0">
                <a:cs typeface="Segoe UI"/>
              </a:rPr>
              <a:t>This tool discusses a potential approach to examining information inputs to trigger inspections. ‘Better practice’ for commencing inspections involves having a clear view of what triggers an inspection to ensure they are conducted consistently and are an appropriate response. </a:t>
            </a:r>
          </a:p>
          <a:p>
            <a:pPr>
              <a:spcBef>
                <a:spcPts val="500"/>
              </a:spcBef>
            </a:pPr>
            <a:r>
              <a:rPr lang="en-AU" sz="1200" dirty="0">
                <a:cs typeface="Segoe UI"/>
              </a:rPr>
              <a:t>Guidance is provided to examine different types of information that may constitute the rationale for an inspection. </a:t>
            </a:r>
            <a:endParaRPr lang="en-AU" sz="1200" dirty="0">
              <a:highlight>
                <a:srgbClr val="FFFF00"/>
              </a:highlight>
              <a:cs typeface="Segoe UI"/>
            </a:endParaRPr>
          </a:p>
        </p:txBody>
      </p:sp>
      <p:sp>
        <p:nvSpPr>
          <p:cNvPr id="3" name="Title 2">
            <a:extLst>
              <a:ext uri="{FF2B5EF4-FFF2-40B4-BE49-F238E27FC236}">
                <a16:creationId xmlns:a16="http://schemas.microsoft.com/office/drawing/2014/main" id="{80CE8119-45A9-B497-B743-3798888405B8}"/>
              </a:ext>
            </a:extLst>
          </p:cNvPr>
          <p:cNvSpPr txBox="1">
            <a:spLocks/>
          </p:cNvSpPr>
          <p:nvPr/>
        </p:nvSpPr>
        <p:spPr>
          <a:xfrm>
            <a:off x="540000" y="292457"/>
            <a:ext cx="5892606" cy="597842"/>
          </a:xfrm>
          <a:prstGeom prst="rect">
            <a:avLst/>
          </a:prstGeom>
        </p:spPr>
        <p:txBody>
          <a:bodyPr vert="horz"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dirty="0">
                <a:latin typeface="VIC SemiBold" panose="00000700000000000000" pitchFamily="2" charset="0"/>
              </a:rPr>
              <a:t>Overview</a:t>
            </a:r>
            <a:r>
              <a:rPr lang="en-AU" dirty="0"/>
              <a:t> | Conduct consistent and justified inspections</a:t>
            </a:r>
          </a:p>
        </p:txBody>
      </p:sp>
      <p:sp>
        <p:nvSpPr>
          <p:cNvPr id="5" name="Text Placeholder 7">
            <a:extLst>
              <a:ext uri="{FF2B5EF4-FFF2-40B4-BE49-F238E27FC236}">
                <a16:creationId xmlns:a16="http://schemas.microsoft.com/office/drawing/2014/main" id="{414FB662-191A-6AE4-B396-41A4E291EEB6}"/>
              </a:ext>
            </a:extLst>
          </p:cNvPr>
          <p:cNvSpPr txBox="1">
            <a:spLocks/>
          </p:cNvSpPr>
          <p:nvPr/>
        </p:nvSpPr>
        <p:spPr>
          <a:xfrm>
            <a:off x="530745" y="3347140"/>
            <a:ext cx="2874380" cy="2448480"/>
          </a:xfrm>
          <a:prstGeom prst="rect">
            <a:avLst/>
          </a:prstGeom>
          <a:solidFill>
            <a:schemeClr val="bg1"/>
          </a:solidFill>
          <a:ln w="19050">
            <a:noFill/>
          </a:ln>
        </p:spPr>
        <p:txBody>
          <a:bodyPr wrap="square" lIns="180000" tIns="396000" rIns="180000" bIns="216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ts val="0"/>
              </a:spcBef>
              <a:spcAft>
                <a:spcPts val="600"/>
              </a:spcAft>
              <a:buFont typeface="Wingdings" panose="05000000000000000000" pitchFamily="2" charset="2"/>
              <a:buChar char="ü"/>
            </a:pPr>
            <a:r>
              <a:rPr lang="en-AU" sz="1100" dirty="0">
                <a:solidFill>
                  <a:schemeClr val="tx2"/>
                </a:solidFill>
                <a:latin typeface="+mj-lt"/>
                <a:cs typeface="Segoe UI" panose="020B0502040204020203" pitchFamily="34" charset="0"/>
              </a:rPr>
              <a:t>Develop guidance and business rules for when information inputs trigger a responsive inspection. </a:t>
            </a:r>
          </a:p>
          <a:p>
            <a:pPr marL="171450" indent="-171450">
              <a:spcBef>
                <a:spcPts val="0"/>
              </a:spcBef>
              <a:spcAft>
                <a:spcPts val="600"/>
              </a:spcAft>
              <a:buFont typeface="Wingdings" panose="05000000000000000000" pitchFamily="2" charset="2"/>
              <a:buChar char="ü"/>
            </a:pPr>
            <a:r>
              <a:rPr lang="en-AU" sz="1100" dirty="0">
                <a:solidFill>
                  <a:schemeClr val="tx2"/>
                </a:solidFill>
                <a:latin typeface="+mj-lt"/>
                <a:cs typeface="Segoe UI" panose="020B0502040204020203" pitchFamily="34" charset="0"/>
              </a:rPr>
              <a:t>Understand the types of information that can trigger an inspection. </a:t>
            </a:r>
          </a:p>
        </p:txBody>
      </p:sp>
      <p:sp>
        <p:nvSpPr>
          <p:cNvPr id="13" name="Freeform: Shape 12">
            <a:extLst>
              <a:ext uri="{FF2B5EF4-FFF2-40B4-BE49-F238E27FC236}">
                <a16:creationId xmlns:a16="http://schemas.microsoft.com/office/drawing/2014/main" id="{0B97B9F7-FF65-85B1-EEB7-8A841D8AA593}"/>
              </a:ext>
            </a:extLst>
          </p:cNvPr>
          <p:cNvSpPr/>
          <p:nvPr/>
        </p:nvSpPr>
        <p:spPr>
          <a:xfrm>
            <a:off x="671726" y="3443749"/>
            <a:ext cx="2872867" cy="209987"/>
          </a:xfrm>
          <a:custGeom>
            <a:avLst/>
            <a:gdLst>
              <a:gd name="connsiteX0" fmla="*/ 0 w 2164368"/>
              <a:gd name="connsiteY0" fmla="*/ 0 h 327334"/>
              <a:gd name="connsiteX1" fmla="*/ 2164368 w 2164368"/>
              <a:gd name="connsiteY1" fmla="*/ 0 h 327334"/>
              <a:gd name="connsiteX2" fmla="*/ 2164368 w 2164368"/>
              <a:gd name="connsiteY2" fmla="*/ 327334 h 327334"/>
              <a:gd name="connsiteX3" fmla="*/ 0 w 2164368"/>
              <a:gd name="connsiteY3" fmla="*/ 327334 h 327334"/>
            </a:gdLst>
            <a:ahLst/>
            <a:cxnLst>
              <a:cxn ang="0">
                <a:pos x="connsiteX0" y="connsiteY0"/>
              </a:cxn>
              <a:cxn ang="0">
                <a:pos x="connsiteX1" y="connsiteY1"/>
              </a:cxn>
              <a:cxn ang="0">
                <a:pos x="connsiteX2" y="connsiteY2"/>
              </a:cxn>
              <a:cxn ang="0">
                <a:pos x="connsiteX3" y="connsiteY3"/>
              </a:cxn>
            </a:cxnLst>
            <a:rect l="l" t="t" r="r" b="b"/>
            <a:pathLst>
              <a:path w="2164368" h="327334">
                <a:moveTo>
                  <a:pt x="0" y="0"/>
                </a:moveTo>
                <a:lnTo>
                  <a:pt x="2164368" y="0"/>
                </a:lnTo>
                <a:lnTo>
                  <a:pt x="2164368" y="327334"/>
                </a:lnTo>
                <a:lnTo>
                  <a:pt x="0" y="327334"/>
                </a:lnTo>
                <a:close/>
              </a:path>
            </a:pathLst>
          </a:custGeom>
          <a:solidFill>
            <a:schemeClr val="accent5"/>
          </a:solidFill>
          <a:ln w="73258" cap="flat">
            <a:noFill/>
            <a:prstDash val="solid"/>
            <a:miter/>
          </a:ln>
        </p:spPr>
        <p:txBody>
          <a:bodyPr lIns="36000" rtlCol="0" anchor="ctr"/>
          <a:lstStyle/>
          <a:p>
            <a:pPr lvl="0">
              <a:spcAft>
                <a:spcPts val="600"/>
              </a:spcAft>
            </a:pPr>
            <a:r>
              <a:rPr lang="en-US" sz="1100" b="1">
                <a:solidFill>
                  <a:schemeClr val="bg1"/>
                </a:solidFill>
                <a:latin typeface="VIC SemiBold" panose="00000700000000000000" pitchFamily="50" charset="0"/>
              </a:rPr>
              <a:t>BENEFITS FOR YOU </a:t>
            </a:r>
          </a:p>
        </p:txBody>
      </p:sp>
      <p:sp>
        <p:nvSpPr>
          <p:cNvPr id="24" name="Text Placeholder 7">
            <a:extLst>
              <a:ext uri="{FF2B5EF4-FFF2-40B4-BE49-F238E27FC236}">
                <a16:creationId xmlns:a16="http://schemas.microsoft.com/office/drawing/2014/main" id="{A68786C5-0F08-67B4-EF2E-B2FD83DED675}"/>
              </a:ext>
            </a:extLst>
          </p:cNvPr>
          <p:cNvSpPr txBox="1">
            <a:spLocks/>
          </p:cNvSpPr>
          <p:nvPr/>
        </p:nvSpPr>
        <p:spPr>
          <a:xfrm>
            <a:off x="3684062" y="3347140"/>
            <a:ext cx="2596850" cy="2448480"/>
          </a:xfrm>
          <a:prstGeom prst="rect">
            <a:avLst/>
          </a:prstGeom>
          <a:solidFill>
            <a:schemeClr val="bg1"/>
          </a:solidFill>
          <a:ln w="19050">
            <a:noFill/>
          </a:ln>
        </p:spPr>
        <p:txBody>
          <a:bodyPr wrap="square" lIns="180000" tIns="180000" rIns="180000" bIns="216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ts val="0"/>
              </a:spcBef>
              <a:spcAft>
                <a:spcPts val="600"/>
              </a:spcAft>
              <a:buFont typeface="Wingdings" panose="05000000000000000000" pitchFamily="2" charset="2"/>
              <a:buChar char="ü"/>
            </a:pPr>
            <a:endParaRPr lang="en-AU" sz="1100" dirty="0">
              <a:solidFill>
                <a:schemeClr val="tx2"/>
              </a:solidFill>
              <a:highlight>
                <a:srgbClr val="FFFF00"/>
              </a:highlight>
              <a:latin typeface="+mj-lt"/>
              <a:cs typeface="Segoe UI" panose="020B0502040204020203" pitchFamily="34" charset="0"/>
            </a:endParaRPr>
          </a:p>
          <a:p>
            <a:pPr marL="171450" indent="-171450">
              <a:spcBef>
                <a:spcPts val="0"/>
              </a:spcBef>
              <a:spcAft>
                <a:spcPts val="600"/>
              </a:spcAft>
              <a:buFont typeface="Wingdings" panose="05000000000000000000" pitchFamily="2" charset="2"/>
              <a:buChar char="ü"/>
            </a:pPr>
            <a:r>
              <a:rPr lang="en-AU" sz="1100" dirty="0">
                <a:solidFill>
                  <a:schemeClr val="tx2"/>
                </a:solidFill>
                <a:latin typeface="+mj-lt"/>
                <a:cs typeface="Segoe UI" panose="020B0502040204020203" pitchFamily="34" charset="0"/>
              </a:rPr>
              <a:t>Understand triggers for different types of inspections. </a:t>
            </a:r>
          </a:p>
          <a:p>
            <a:pPr marL="171450" indent="-171450">
              <a:spcBef>
                <a:spcPts val="0"/>
              </a:spcBef>
              <a:spcAft>
                <a:spcPts val="600"/>
              </a:spcAft>
              <a:buFont typeface="Wingdings" panose="05000000000000000000" pitchFamily="2" charset="2"/>
              <a:buChar char="ü"/>
            </a:pPr>
            <a:r>
              <a:rPr lang="en-AU" sz="1100" dirty="0">
                <a:solidFill>
                  <a:schemeClr val="tx2"/>
                </a:solidFill>
                <a:latin typeface="+mj-lt"/>
                <a:cs typeface="Segoe UI" panose="020B0502040204020203" pitchFamily="34" charset="0"/>
              </a:rPr>
              <a:t>Consider different types of information that may indicate when a responsive action is required.</a:t>
            </a:r>
          </a:p>
        </p:txBody>
      </p:sp>
      <p:sp>
        <p:nvSpPr>
          <p:cNvPr id="25" name="Freeform: Shape 24">
            <a:extLst>
              <a:ext uri="{FF2B5EF4-FFF2-40B4-BE49-F238E27FC236}">
                <a16:creationId xmlns:a16="http://schemas.microsoft.com/office/drawing/2014/main" id="{7468EDA2-3039-B298-282F-E1688E17F2A3}"/>
              </a:ext>
            </a:extLst>
          </p:cNvPr>
          <p:cNvSpPr/>
          <p:nvPr/>
        </p:nvSpPr>
        <p:spPr>
          <a:xfrm>
            <a:off x="3837123" y="3443755"/>
            <a:ext cx="2595483" cy="209981"/>
          </a:xfrm>
          <a:custGeom>
            <a:avLst/>
            <a:gdLst>
              <a:gd name="connsiteX0" fmla="*/ 0 w 2164368"/>
              <a:gd name="connsiteY0" fmla="*/ 0 h 327334"/>
              <a:gd name="connsiteX1" fmla="*/ 2164368 w 2164368"/>
              <a:gd name="connsiteY1" fmla="*/ 0 h 327334"/>
              <a:gd name="connsiteX2" fmla="*/ 2164368 w 2164368"/>
              <a:gd name="connsiteY2" fmla="*/ 327334 h 327334"/>
              <a:gd name="connsiteX3" fmla="*/ 0 w 2164368"/>
              <a:gd name="connsiteY3" fmla="*/ 327334 h 327334"/>
            </a:gdLst>
            <a:ahLst/>
            <a:cxnLst>
              <a:cxn ang="0">
                <a:pos x="connsiteX0" y="connsiteY0"/>
              </a:cxn>
              <a:cxn ang="0">
                <a:pos x="connsiteX1" y="connsiteY1"/>
              </a:cxn>
              <a:cxn ang="0">
                <a:pos x="connsiteX2" y="connsiteY2"/>
              </a:cxn>
              <a:cxn ang="0">
                <a:pos x="connsiteX3" y="connsiteY3"/>
              </a:cxn>
            </a:cxnLst>
            <a:rect l="l" t="t" r="r" b="b"/>
            <a:pathLst>
              <a:path w="2164368" h="327334">
                <a:moveTo>
                  <a:pt x="0" y="0"/>
                </a:moveTo>
                <a:lnTo>
                  <a:pt x="2164368" y="0"/>
                </a:lnTo>
                <a:lnTo>
                  <a:pt x="2164368" y="327334"/>
                </a:lnTo>
                <a:lnTo>
                  <a:pt x="0" y="327334"/>
                </a:lnTo>
                <a:close/>
              </a:path>
            </a:pathLst>
          </a:custGeom>
          <a:solidFill>
            <a:schemeClr val="accent3"/>
          </a:solidFill>
          <a:ln w="73258" cap="flat">
            <a:noFill/>
            <a:prstDash val="solid"/>
            <a:miter/>
          </a:ln>
        </p:spPr>
        <p:txBody>
          <a:bodyPr lIns="36000" rtlCol="0" anchor="ctr"/>
          <a:lstStyle/>
          <a:p>
            <a:pPr lvl="0">
              <a:spcAft>
                <a:spcPts val="600"/>
              </a:spcAft>
            </a:pPr>
            <a:r>
              <a:rPr lang="en-US" sz="1100" b="1">
                <a:solidFill>
                  <a:schemeClr val="bg1"/>
                </a:solidFill>
                <a:latin typeface="VIC SemiBold" panose="00000700000000000000" pitchFamily="50" charset="0"/>
              </a:rPr>
              <a:t>USE THIS DOCUMENT TO:</a:t>
            </a:r>
          </a:p>
        </p:txBody>
      </p:sp>
      <p:sp>
        <p:nvSpPr>
          <p:cNvPr id="4" name="Text Placeholder 4">
            <a:extLst>
              <a:ext uri="{FF2B5EF4-FFF2-40B4-BE49-F238E27FC236}">
                <a16:creationId xmlns:a16="http://schemas.microsoft.com/office/drawing/2014/main" id="{5BE56102-969D-60C5-E08D-D27432E3F129}"/>
              </a:ext>
            </a:extLst>
          </p:cNvPr>
          <p:cNvSpPr txBox="1">
            <a:spLocks/>
          </p:cNvSpPr>
          <p:nvPr/>
        </p:nvSpPr>
        <p:spPr>
          <a:xfrm>
            <a:off x="7094520" y="1220344"/>
            <a:ext cx="2468580" cy="2698514"/>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b="1" dirty="0">
                <a:solidFill>
                  <a:schemeClr val="bg1"/>
                </a:solidFill>
              </a:rPr>
              <a:t>A tool for examining inspection triggers. </a:t>
            </a:r>
          </a:p>
          <a:p>
            <a:pPr marL="228600" indent="-228600">
              <a:buFont typeface="+mj-lt"/>
              <a:buAutoNum type="arabicPeriod"/>
            </a:pPr>
            <a:r>
              <a:rPr lang="en-AU" dirty="0">
                <a:solidFill>
                  <a:schemeClr val="bg1"/>
                </a:solidFill>
              </a:rPr>
              <a:t>Overview of inspection types and their triggers. </a:t>
            </a:r>
          </a:p>
          <a:p>
            <a:pPr marL="228600" indent="-228600">
              <a:buFont typeface="+mj-lt"/>
              <a:buAutoNum type="arabicPeriod"/>
            </a:pPr>
            <a:r>
              <a:rPr lang="en-AU" dirty="0">
                <a:solidFill>
                  <a:schemeClr val="bg1"/>
                </a:solidFill>
              </a:rPr>
              <a:t>Requirements to commence a responsive inspection. </a:t>
            </a:r>
          </a:p>
          <a:p>
            <a:pPr marL="228600" indent="-228600">
              <a:buFont typeface="+mj-lt"/>
              <a:buAutoNum type="arabicPeriod"/>
            </a:pPr>
            <a:r>
              <a:rPr lang="en-AU" dirty="0">
                <a:solidFill>
                  <a:schemeClr val="bg1"/>
                </a:solidFill>
              </a:rPr>
              <a:t>Lenses to assess available information that may justify an inspection. </a:t>
            </a:r>
          </a:p>
        </p:txBody>
      </p:sp>
    </p:spTree>
    <p:extLst>
      <p:ext uri="{BB962C8B-B14F-4D97-AF65-F5344CB8AC3E}">
        <p14:creationId xmlns:p14="http://schemas.microsoft.com/office/powerpoint/2010/main" val="35758117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CEE8F0D-271D-A3F4-ABA4-55804FF8C507}"/>
              </a:ext>
            </a:extLst>
          </p:cNvPr>
          <p:cNvGraphicFramePr>
            <a:graphicFrameLocks noChangeAspect="1"/>
          </p:cNvGraphicFramePr>
          <p:nvPr>
            <p:custDataLst>
              <p:tags r:id="rId1"/>
            </p:custDataLst>
            <p:extLst>
              <p:ext uri="{D42A27DB-BD31-4B8C-83A1-F6EECF244321}">
                <p14:modId xmlns:p14="http://schemas.microsoft.com/office/powerpoint/2010/main" val="2386529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DCEE8F0D-271D-A3F4-ABA4-55804FF8C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9C43858B-5A97-3C3D-B6F8-AC63228C66E1}"/>
              </a:ext>
            </a:extLst>
          </p:cNvPr>
          <p:cNvSpPr/>
          <p:nvPr/>
        </p:nvSpPr>
        <p:spPr>
          <a:xfrm>
            <a:off x="6444803" y="2390234"/>
            <a:ext cx="2897666" cy="2360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72000" rIns="90000" bIns="5400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AU" sz="1050" b="1" dirty="0">
                <a:solidFill>
                  <a:schemeClr val="tx2"/>
                </a:solidFill>
              </a:rPr>
              <a:t>Definition:</a:t>
            </a:r>
            <a:r>
              <a:rPr lang="en-AU" sz="1050" dirty="0">
                <a:solidFill>
                  <a:schemeClr val="tx2"/>
                </a:solidFill>
              </a:rPr>
              <a:t> </a:t>
            </a:r>
            <a:r>
              <a:rPr kumimoji="0" lang="en-AU" sz="1050" b="0" i="0" u="none" strike="noStrike" kern="1200" cap="none" spc="0" normalizeH="0" baseline="0" noProof="0" dirty="0">
                <a:ln>
                  <a:noFill/>
                </a:ln>
                <a:solidFill>
                  <a:schemeClr val="tx2"/>
                </a:solidFill>
                <a:effectLst/>
                <a:uLnTx/>
                <a:uFillTx/>
                <a:latin typeface="VIC"/>
                <a:ea typeface="+mn-lt"/>
                <a:cs typeface="+mn-lt"/>
              </a:rPr>
              <a:t>inspections driven by complaints, referrals, reports, or incidents. These inspections respond to identified or alleged instances of non-compliance.</a:t>
            </a:r>
            <a:br>
              <a:rPr kumimoji="0" lang="en-AU" sz="1050" b="0" i="0" u="none" strike="noStrike" kern="1200" cap="none" spc="0" normalizeH="0" baseline="0" noProof="0" dirty="0">
                <a:ln>
                  <a:noFill/>
                </a:ln>
                <a:solidFill>
                  <a:schemeClr val="tx2"/>
                </a:solidFill>
                <a:effectLst/>
                <a:uLnTx/>
                <a:uFillTx/>
                <a:latin typeface="VIC"/>
                <a:ea typeface="+mn-lt"/>
                <a:cs typeface="+mn-lt"/>
              </a:rPr>
            </a:br>
            <a:endParaRPr kumimoji="0" lang="en-AU" sz="1050" b="0" i="0" u="none" strike="noStrike" kern="1200" cap="none" spc="0" normalizeH="0" baseline="0" noProof="0" dirty="0">
              <a:ln>
                <a:noFill/>
              </a:ln>
              <a:solidFill>
                <a:schemeClr val="tx2"/>
              </a:solidFill>
              <a:effectLst/>
              <a:uLnTx/>
              <a:uFillTx/>
              <a:latin typeface="VIC"/>
              <a:ea typeface="+mn-lt"/>
              <a:cs typeface="+mn-lt"/>
            </a:endParaRPr>
          </a:p>
          <a:p>
            <a:pPr>
              <a:spcAft>
                <a:spcPts val="600"/>
              </a:spcAft>
            </a:pPr>
            <a:r>
              <a:rPr lang="en-AU" sz="1050" b="1" dirty="0">
                <a:solidFill>
                  <a:schemeClr val="tx2"/>
                </a:solidFill>
                <a:latin typeface="VIC"/>
                <a:ea typeface="+mn-lt"/>
                <a:cs typeface="+mn-lt"/>
              </a:rPr>
              <a:t>Responsive</a:t>
            </a:r>
            <a:r>
              <a:rPr lang="en-AU" sz="1050" dirty="0">
                <a:solidFill>
                  <a:schemeClr val="tx2"/>
                </a:solidFill>
                <a:latin typeface="VIC"/>
                <a:ea typeface="+mn-lt"/>
                <a:cs typeface="+mn-lt"/>
              </a:rPr>
              <a:t> inspections might be triggered by an indication of non-compliance or response (e.g., a specific complaint against an entity, or a referral from another regulator) using guidance to inform the decision to inspect.</a:t>
            </a:r>
            <a:endParaRPr lang="en-AU" sz="1050" dirty="0">
              <a:solidFill>
                <a:schemeClr val="tx2"/>
              </a:solidFill>
            </a:endParaRPr>
          </a:p>
        </p:txBody>
      </p:sp>
      <p:sp>
        <p:nvSpPr>
          <p:cNvPr id="47" name="Rectangle 46">
            <a:extLst>
              <a:ext uri="{FF2B5EF4-FFF2-40B4-BE49-F238E27FC236}">
                <a16:creationId xmlns:a16="http://schemas.microsoft.com/office/drawing/2014/main" id="{3C3FD4E8-DA51-BDCC-9597-037FA2A24F08}"/>
              </a:ext>
            </a:extLst>
          </p:cNvPr>
          <p:cNvSpPr/>
          <p:nvPr/>
        </p:nvSpPr>
        <p:spPr>
          <a:xfrm>
            <a:off x="6802023" y="1959632"/>
            <a:ext cx="2897666" cy="3605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p>
            <a:r>
              <a:rPr lang="en-AU" sz="1050" dirty="0">
                <a:solidFill>
                  <a:schemeClr val="tx2"/>
                </a:solidFill>
                <a:latin typeface="VIC SemiBold" panose="00000700000000000000" pitchFamily="50" charset="0"/>
              </a:rPr>
              <a:t>RESPONSIVE INSPECTION</a:t>
            </a:r>
          </a:p>
        </p:txBody>
      </p:sp>
      <p:cxnSp>
        <p:nvCxnSpPr>
          <p:cNvPr id="55" name="Straight Connector 54">
            <a:extLst>
              <a:ext uri="{FF2B5EF4-FFF2-40B4-BE49-F238E27FC236}">
                <a16:creationId xmlns:a16="http://schemas.microsoft.com/office/drawing/2014/main" id="{67388F11-638C-E9F7-03C0-CD9EF14BF0C1}"/>
              </a:ext>
            </a:extLst>
          </p:cNvPr>
          <p:cNvCxnSpPr>
            <a:cxnSpLocks/>
          </p:cNvCxnSpPr>
          <p:nvPr/>
        </p:nvCxnSpPr>
        <p:spPr>
          <a:xfrm flipV="1">
            <a:off x="6443213" y="2395187"/>
            <a:ext cx="2897667" cy="4953"/>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1AAF0710-D2E7-C6C8-1445-17E572AA04F6}"/>
              </a:ext>
            </a:extLst>
          </p:cNvPr>
          <p:cNvGrpSpPr>
            <a:grpSpLocks noChangeAspect="1"/>
          </p:cNvGrpSpPr>
          <p:nvPr/>
        </p:nvGrpSpPr>
        <p:grpSpPr>
          <a:xfrm>
            <a:off x="3543611" y="1987745"/>
            <a:ext cx="339609" cy="323992"/>
            <a:chOff x="4981441" y="2212806"/>
            <a:chExt cx="552450" cy="527050"/>
          </a:xfrm>
          <a:solidFill>
            <a:schemeClr val="accent3"/>
          </a:solidFill>
        </p:grpSpPr>
        <p:sp>
          <p:nvSpPr>
            <p:cNvPr id="4" name="Freeform 29">
              <a:extLst>
                <a:ext uri="{FF2B5EF4-FFF2-40B4-BE49-F238E27FC236}">
                  <a16:creationId xmlns:a16="http://schemas.microsoft.com/office/drawing/2014/main" id="{E3FDAD9A-A06A-5452-AC9C-A76FA8FA354D}"/>
                </a:ext>
              </a:extLst>
            </p:cNvPr>
            <p:cNvSpPr>
              <a:spLocks noEditPoints="1"/>
            </p:cNvSpPr>
            <p:nvPr/>
          </p:nvSpPr>
          <p:spPr bwMode="auto">
            <a:xfrm>
              <a:off x="5051425" y="2636838"/>
              <a:ext cx="28575" cy="30163"/>
            </a:xfrm>
            <a:custGeom>
              <a:avLst/>
              <a:gdLst>
                <a:gd name="T0" fmla="*/ 4 w 9"/>
                <a:gd name="T1" fmla="*/ 0 h 9"/>
                <a:gd name="T2" fmla="*/ 1 w 9"/>
                <a:gd name="T3" fmla="*/ 2 h 9"/>
                <a:gd name="T4" fmla="*/ 0 w 9"/>
                <a:gd name="T5" fmla="*/ 5 h 9"/>
                <a:gd name="T6" fmla="*/ 4 w 9"/>
                <a:gd name="T7" fmla="*/ 9 h 9"/>
                <a:gd name="T8" fmla="*/ 9 w 9"/>
                <a:gd name="T9" fmla="*/ 5 h 9"/>
                <a:gd name="T10" fmla="*/ 4 w 9"/>
                <a:gd name="T11" fmla="*/ 0 h 9"/>
                <a:gd name="T12" fmla="*/ 4 w 9"/>
                <a:gd name="T13" fmla="*/ 8 h 9"/>
                <a:gd name="T14" fmla="*/ 1 w 9"/>
                <a:gd name="T15" fmla="*/ 5 h 9"/>
                <a:gd name="T16" fmla="*/ 2 w 9"/>
                <a:gd name="T17" fmla="*/ 2 h 9"/>
                <a:gd name="T18" fmla="*/ 2 w 9"/>
                <a:gd name="T19" fmla="*/ 2 h 9"/>
                <a:gd name="T20" fmla="*/ 4 w 9"/>
                <a:gd name="T21" fmla="*/ 2 h 9"/>
                <a:gd name="T22" fmla="*/ 7 w 9"/>
                <a:gd name="T23" fmla="*/ 5 h 9"/>
                <a:gd name="T24" fmla="*/ 4 w 9"/>
                <a:gd name="T2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4" y="0"/>
                  </a:moveTo>
                  <a:cubicBezTo>
                    <a:pt x="3" y="0"/>
                    <a:pt x="2" y="1"/>
                    <a:pt x="1" y="2"/>
                  </a:cubicBezTo>
                  <a:cubicBezTo>
                    <a:pt x="0" y="2"/>
                    <a:pt x="0" y="4"/>
                    <a:pt x="0" y="5"/>
                  </a:cubicBezTo>
                  <a:cubicBezTo>
                    <a:pt x="0" y="7"/>
                    <a:pt x="2" y="9"/>
                    <a:pt x="4" y="9"/>
                  </a:cubicBezTo>
                  <a:cubicBezTo>
                    <a:pt x="7" y="9"/>
                    <a:pt x="9" y="7"/>
                    <a:pt x="9" y="5"/>
                  </a:cubicBezTo>
                  <a:cubicBezTo>
                    <a:pt x="9" y="2"/>
                    <a:pt x="7" y="0"/>
                    <a:pt x="4" y="0"/>
                  </a:cubicBezTo>
                  <a:close/>
                  <a:moveTo>
                    <a:pt x="4" y="8"/>
                  </a:moveTo>
                  <a:cubicBezTo>
                    <a:pt x="2" y="8"/>
                    <a:pt x="1" y="6"/>
                    <a:pt x="1" y="5"/>
                  </a:cubicBezTo>
                  <a:cubicBezTo>
                    <a:pt x="1" y="4"/>
                    <a:pt x="1" y="3"/>
                    <a:pt x="2" y="2"/>
                  </a:cubicBezTo>
                  <a:cubicBezTo>
                    <a:pt x="2" y="2"/>
                    <a:pt x="2" y="2"/>
                    <a:pt x="2" y="2"/>
                  </a:cubicBezTo>
                  <a:cubicBezTo>
                    <a:pt x="2" y="2"/>
                    <a:pt x="3" y="2"/>
                    <a:pt x="4" y="2"/>
                  </a:cubicBezTo>
                  <a:cubicBezTo>
                    <a:pt x="6" y="2"/>
                    <a:pt x="7" y="3"/>
                    <a:pt x="7" y="5"/>
                  </a:cubicBezTo>
                  <a:cubicBezTo>
                    <a:pt x="7" y="6"/>
                    <a:pt x="6"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 name="Freeform 31">
              <a:extLst>
                <a:ext uri="{FF2B5EF4-FFF2-40B4-BE49-F238E27FC236}">
                  <a16:creationId xmlns:a16="http://schemas.microsoft.com/office/drawing/2014/main" id="{39E79785-8D7E-56E8-B788-31D66BDCF50F}"/>
                </a:ext>
              </a:extLst>
            </p:cNvPr>
            <p:cNvSpPr>
              <a:spLocks/>
            </p:cNvSpPr>
            <p:nvPr/>
          </p:nvSpPr>
          <p:spPr bwMode="auto">
            <a:xfrm>
              <a:off x="5051425" y="2636838"/>
              <a:ext cx="28575" cy="30163"/>
            </a:xfrm>
            <a:custGeom>
              <a:avLst/>
              <a:gdLst>
                <a:gd name="T0" fmla="*/ 4 w 9"/>
                <a:gd name="T1" fmla="*/ 9 h 9"/>
                <a:gd name="T2" fmla="*/ 0 w 9"/>
                <a:gd name="T3" fmla="*/ 5 h 9"/>
                <a:gd name="T4" fmla="*/ 1 w 9"/>
                <a:gd name="T5" fmla="*/ 2 h 9"/>
                <a:gd name="T6" fmla="*/ 4 w 9"/>
                <a:gd name="T7" fmla="*/ 0 h 9"/>
                <a:gd name="T8" fmla="*/ 9 w 9"/>
                <a:gd name="T9" fmla="*/ 5 h 9"/>
                <a:gd name="T10" fmla="*/ 4 w 9"/>
                <a:gd name="T11" fmla="*/ 9 h 9"/>
              </a:gdLst>
              <a:ahLst/>
              <a:cxnLst>
                <a:cxn ang="0">
                  <a:pos x="T0" y="T1"/>
                </a:cxn>
                <a:cxn ang="0">
                  <a:pos x="T2" y="T3"/>
                </a:cxn>
                <a:cxn ang="0">
                  <a:pos x="T4" y="T5"/>
                </a:cxn>
                <a:cxn ang="0">
                  <a:pos x="T6" y="T7"/>
                </a:cxn>
                <a:cxn ang="0">
                  <a:pos x="T8" y="T9"/>
                </a:cxn>
                <a:cxn ang="0">
                  <a:pos x="T10" y="T11"/>
                </a:cxn>
              </a:cxnLst>
              <a:rect l="0" t="0" r="r" b="b"/>
              <a:pathLst>
                <a:path w="9" h="9">
                  <a:moveTo>
                    <a:pt x="4" y="9"/>
                  </a:moveTo>
                  <a:cubicBezTo>
                    <a:pt x="2" y="9"/>
                    <a:pt x="0" y="7"/>
                    <a:pt x="0" y="5"/>
                  </a:cubicBezTo>
                  <a:cubicBezTo>
                    <a:pt x="0" y="4"/>
                    <a:pt x="0" y="2"/>
                    <a:pt x="1" y="2"/>
                  </a:cubicBezTo>
                  <a:cubicBezTo>
                    <a:pt x="2" y="1"/>
                    <a:pt x="3" y="0"/>
                    <a:pt x="4" y="0"/>
                  </a:cubicBezTo>
                  <a:cubicBezTo>
                    <a:pt x="7" y="0"/>
                    <a:pt x="9" y="2"/>
                    <a:pt x="9" y="5"/>
                  </a:cubicBezTo>
                  <a:cubicBezTo>
                    <a:pt x="9" y="7"/>
                    <a:pt x="7"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 name="Freeform 32">
              <a:extLst>
                <a:ext uri="{FF2B5EF4-FFF2-40B4-BE49-F238E27FC236}">
                  <a16:creationId xmlns:a16="http://schemas.microsoft.com/office/drawing/2014/main" id="{AFB56AB2-0243-6285-E066-0CF0698CE95F}"/>
                </a:ext>
              </a:extLst>
            </p:cNvPr>
            <p:cNvSpPr>
              <a:spLocks noEditPoints="1"/>
            </p:cNvSpPr>
            <p:nvPr/>
          </p:nvSpPr>
          <p:spPr bwMode="auto">
            <a:xfrm>
              <a:off x="4981441" y="2212806"/>
              <a:ext cx="552450" cy="527050"/>
            </a:xfrm>
            <a:custGeom>
              <a:avLst/>
              <a:gdLst>
                <a:gd name="T0" fmla="*/ 164 w 173"/>
                <a:gd name="T1" fmla="*/ 34 h 165"/>
                <a:gd name="T2" fmla="*/ 161 w 173"/>
                <a:gd name="T3" fmla="*/ 37 h 165"/>
                <a:gd name="T4" fmla="*/ 161 w 173"/>
                <a:gd name="T5" fmla="*/ 37 h 165"/>
                <a:gd name="T6" fmla="*/ 142 w 173"/>
                <a:gd name="T7" fmla="*/ 55 h 165"/>
                <a:gd name="T8" fmla="*/ 142 w 173"/>
                <a:gd name="T9" fmla="*/ 55 h 165"/>
                <a:gd name="T10" fmla="*/ 128 w 173"/>
                <a:gd name="T11" fmla="*/ 61 h 165"/>
                <a:gd name="T12" fmla="*/ 108 w 173"/>
                <a:gd name="T13" fmla="*/ 41 h 165"/>
                <a:gd name="T14" fmla="*/ 114 w 173"/>
                <a:gd name="T15" fmla="*/ 28 h 165"/>
                <a:gd name="T16" fmla="*/ 136 w 173"/>
                <a:gd name="T17" fmla="*/ 6 h 165"/>
                <a:gd name="T18" fmla="*/ 114 w 173"/>
                <a:gd name="T19" fmla="*/ 0 h 165"/>
                <a:gd name="T20" fmla="*/ 92 w 173"/>
                <a:gd name="T21" fmla="*/ 9 h 165"/>
                <a:gd name="T22" fmla="*/ 71 w 173"/>
                <a:gd name="T23" fmla="*/ 29 h 165"/>
                <a:gd name="T24" fmla="*/ 71 w 173"/>
                <a:gd name="T25" fmla="*/ 71 h 165"/>
                <a:gd name="T26" fmla="*/ 71 w 173"/>
                <a:gd name="T27" fmla="*/ 71 h 165"/>
                <a:gd name="T28" fmla="*/ 71 w 173"/>
                <a:gd name="T29" fmla="*/ 72 h 165"/>
                <a:gd name="T30" fmla="*/ 7 w 173"/>
                <a:gd name="T31" fmla="*/ 127 h 165"/>
                <a:gd name="T32" fmla="*/ 0 w 173"/>
                <a:gd name="T33" fmla="*/ 143 h 165"/>
                <a:gd name="T34" fmla="*/ 23 w 173"/>
                <a:gd name="T35" fmla="*/ 165 h 165"/>
                <a:gd name="T36" fmla="*/ 39 w 173"/>
                <a:gd name="T37" fmla="*/ 158 h 165"/>
                <a:gd name="T38" fmla="*/ 97 w 173"/>
                <a:gd name="T39" fmla="*/ 96 h 165"/>
                <a:gd name="T40" fmla="*/ 98 w 173"/>
                <a:gd name="T41" fmla="*/ 96 h 165"/>
                <a:gd name="T42" fmla="*/ 125 w 173"/>
                <a:gd name="T43" fmla="*/ 105 h 165"/>
                <a:gd name="T44" fmla="*/ 141 w 173"/>
                <a:gd name="T45" fmla="*/ 98 h 165"/>
                <a:gd name="T46" fmla="*/ 162 w 173"/>
                <a:gd name="T47" fmla="*/ 78 h 165"/>
                <a:gd name="T48" fmla="*/ 164 w 173"/>
                <a:gd name="T49" fmla="*/ 34 h 165"/>
                <a:gd name="T50" fmla="*/ 157 w 173"/>
                <a:gd name="T51" fmla="*/ 73 h 165"/>
                <a:gd name="T52" fmla="*/ 136 w 173"/>
                <a:gd name="T53" fmla="*/ 94 h 165"/>
                <a:gd name="T54" fmla="*/ 125 w 173"/>
                <a:gd name="T55" fmla="*/ 98 h 165"/>
                <a:gd name="T56" fmla="*/ 99 w 173"/>
                <a:gd name="T57" fmla="*/ 90 h 165"/>
                <a:gd name="T58" fmla="*/ 99 w 173"/>
                <a:gd name="T59" fmla="*/ 90 h 165"/>
                <a:gd name="T60" fmla="*/ 98 w 173"/>
                <a:gd name="T61" fmla="*/ 89 h 165"/>
                <a:gd name="T62" fmla="*/ 94 w 173"/>
                <a:gd name="T63" fmla="*/ 90 h 165"/>
                <a:gd name="T64" fmla="*/ 94 w 173"/>
                <a:gd name="T65" fmla="*/ 91 h 165"/>
                <a:gd name="T66" fmla="*/ 94 w 173"/>
                <a:gd name="T67" fmla="*/ 91 h 165"/>
                <a:gd name="T68" fmla="*/ 34 w 173"/>
                <a:gd name="T69" fmla="*/ 154 h 165"/>
                <a:gd name="T70" fmla="*/ 23 w 173"/>
                <a:gd name="T71" fmla="*/ 158 h 165"/>
                <a:gd name="T72" fmla="*/ 7 w 173"/>
                <a:gd name="T73" fmla="*/ 143 h 165"/>
                <a:gd name="T74" fmla="*/ 12 w 173"/>
                <a:gd name="T75" fmla="*/ 132 h 165"/>
                <a:gd name="T76" fmla="*/ 77 w 173"/>
                <a:gd name="T77" fmla="*/ 75 h 165"/>
                <a:gd name="T78" fmla="*/ 77 w 173"/>
                <a:gd name="T79" fmla="*/ 75 h 165"/>
                <a:gd name="T80" fmla="*/ 77 w 173"/>
                <a:gd name="T81" fmla="*/ 74 h 165"/>
                <a:gd name="T82" fmla="*/ 79 w 173"/>
                <a:gd name="T83" fmla="*/ 72 h 165"/>
                <a:gd name="T84" fmla="*/ 78 w 173"/>
                <a:gd name="T85" fmla="*/ 70 h 165"/>
                <a:gd name="T86" fmla="*/ 78 w 173"/>
                <a:gd name="T87" fmla="*/ 70 h 165"/>
                <a:gd name="T88" fmla="*/ 78 w 173"/>
                <a:gd name="T89" fmla="*/ 70 h 165"/>
                <a:gd name="T90" fmla="*/ 76 w 173"/>
                <a:gd name="T91" fmla="*/ 34 h 165"/>
                <a:gd name="T92" fmla="*/ 97 w 173"/>
                <a:gd name="T93" fmla="*/ 13 h 165"/>
                <a:gd name="T94" fmla="*/ 114 w 173"/>
                <a:gd name="T95" fmla="*/ 7 h 165"/>
                <a:gd name="T96" fmla="*/ 123 w 173"/>
                <a:gd name="T97" fmla="*/ 8 h 165"/>
                <a:gd name="T98" fmla="*/ 124 w 173"/>
                <a:gd name="T99" fmla="*/ 8 h 165"/>
                <a:gd name="T100" fmla="*/ 109 w 173"/>
                <a:gd name="T101" fmla="*/ 23 h 165"/>
                <a:gd name="T102" fmla="*/ 101 w 173"/>
                <a:gd name="T103" fmla="*/ 41 h 165"/>
                <a:gd name="T104" fmla="*/ 128 w 173"/>
                <a:gd name="T105" fmla="*/ 67 h 165"/>
                <a:gd name="T106" fmla="*/ 147 w 173"/>
                <a:gd name="T107" fmla="*/ 59 h 165"/>
                <a:gd name="T108" fmla="*/ 147 w 173"/>
                <a:gd name="T109" fmla="*/ 59 h 165"/>
                <a:gd name="T110" fmla="*/ 147 w 173"/>
                <a:gd name="T111" fmla="*/ 59 h 165"/>
                <a:gd name="T112" fmla="*/ 162 w 173"/>
                <a:gd name="T113" fmla="*/ 45 h 165"/>
                <a:gd name="T114" fmla="*/ 162 w 173"/>
                <a:gd name="T115" fmla="*/ 46 h 165"/>
                <a:gd name="T116" fmla="*/ 157 w 173"/>
                <a:gd name="T117" fmla="*/ 7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3" h="165">
                  <a:moveTo>
                    <a:pt x="164" y="34"/>
                  </a:moveTo>
                  <a:cubicBezTo>
                    <a:pt x="161" y="37"/>
                    <a:pt x="161" y="37"/>
                    <a:pt x="161" y="37"/>
                  </a:cubicBezTo>
                  <a:cubicBezTo>
                    <a:pt x="161" y="37"/>
                    <a:pt x="161" y="37"/>
                    <a:pt x="161" y="37"/>
                  </a:cubicBezTo>
                  <a:cubicBezTo>
                    <a:pt x="142" y="55"/>
                    <a:pt x="142" y="55"/>
                    <a:pt x="142" y="55"/>
                  </a:cubicBezTo>
                  <a:cubicBezTo>
                    <a:pt x="142" y="55"/>
                    <a:pt x="142" y="55"/>
                    <a:pt x="142" y="55"/>
                  </a:cubicBezTo>
                  <a:cubicBezTo>
                    <a:pt x="138" y="59"/>
                    <a:pt x="133" y="61"/>
                    <a:pt x="128" y="61"/>
                  </a:cubicBezTo>
                  <a:cubicBezTo>
                    <a:pt x="117" y="61"/>
                    <a:pt x="108" y="52"/>
                    <a:pt x="108" y="41"/>
                  </a:cubicBezTo>
                  <a:cubicBezTo>
                    <a:pt x="108" y="36"/>
                    <a:pt x="110" y="32"/>
                    <a:pt x="114" y="28"/>
                  </a:cubicBezTo>
                  <a:cubicBezTo>
                    <a:pt x="136" y="6"/>
                    <a:pt x="136" y="6"/>
                    <a:pt x="136" y="6"/>
                  </a:cubicBezTo>
                  <a:cubicBezTo>
                    <a:pt x="129" y="2"/>
                    <a:pt x="121" y="0"/>
                    <a:pt x="114" y="0"/>
                  </a:cubicBezTo>
                  <a:cubicBezTo>
                    <a:pt x="105" y="0"/>
                    <a:pt x="98" y="3"/>
                    <a:pt x="92" y="9"/>
                  </a:cubicBezTo>
                  <a:cubicBezTo>
                    <a:pt x="71" y="29"/>
                    <a:pt x="71" y="29"/>
                    <a:pt x="71" y="29"/>
                  </a:cubicBezTo>
                  <a:cubicBezTo>
                    <a:pt x="60" y="41"/>
                    <a:pt x="60" y="55"/>
                    <a:pt x="71" y="71"/>
                  </a:cubicBezTo>
                  <a:cubicBezTo>
                    <a:pt x="71" y="71"/>
                    <a:pt x="71" y="71"/>
                    <a:pt x="71" y="71"/>
                  </a:cubicBezTo>
                  <a:cubicBezTo>
                    <a:pt x="71" y="72"/>
                    <a:pt x="71" y="72"/>
                    <a:pt x="71" y="72"/>
                  </a:cubicBezTo>
                  <a:cubicBezTo>
                    <a:pt x="7" y="127"/>
                    <a:pt x="7" y="127"/>
                    <a:pt x="7" y="127"/>
                  </a:cubicBezTo>
                  <a:cubicBezTo>
                    <a:pt x="3" y="131"/>
                    <a:pt x="0" y="137"/>
                    <a:pt x="0" y="143"/>
                  </a:cubicBezTo>
                  <a:cubicBezTo>
                    <a:pt x="0" y="155"/>
                    <a:pt x="10" y="165"/>
                    <a:pt x="23" y="165"/>
                  </a:cubicBezTo>
                  <a:cubicBezTo>
                    <a:pt x="29" y="165"/>
                    <a:pt x="35" y="162"/>
                    <a:pt x="39" y="158"/>
                  </a:cubicBezTo>
                  <a:cubicBezTo>
                    <a:pt x="97" y="96"/>
                    <a:pt x="97" y="96"/>
                    <a:pt x="97" y="96"/>
                  </a:cubicBezTo>
                  <a:cubicBezTo>
                    <a:pt x="98" y="96"/>
                    <a:pt x="98" y="96"/>
                    <a:pt x="98" y="96"/>
                  </a:cubicBezTo>
                  <a:cubicBezTo>
                    <a:pt x="112" y="104"/>
                    <a:pt x="125" y="105"/>
                    <a:pt x="125" y="105"/>
                  </a:cubicBezTo>
                  <a:cubicBezTo>
                    <a:pt x="131" y="105"/>
                    <a:pt x="137" y="102"/>
                    <a:pt x="141" y="98"/>
                  </a:cubicBezTo>
                  <a:cubicBezTo>
                    <a:pt x="162" y="78"/>
                    <a:pt x="162" y="78"/>
                    <a:pt x="162" y="78"/>
                  </a:cubicBezTo>
                  <a:cubicBezTo>
                    <a:pt x="172" y="67"/>
                    <a:pt x="173" y="50"/>
                    <a:pt x="164" y="34"/>
                  </a:cubicBezTo>
                  <a:close/>
                  <a:moveTo>
                    <a:pt x="157" y="73"/>
                  </a:moveTo>
                  <a:cubicBezTo>
                    <a:pt x="136" y="94"/>
                    <a:pt x="136" y="94"/>
                    <a:pt x="136" y="94"/>
                  </a:cubicBezTo>
                  <a:cubicBezTo>
                    <a:pt x="134" y="96"/>
                    <a:pt x="129" y="98"/>
                    <a:pt x="125" y="98"/>
                  </a:cubicBezTo>
                  <a:cubicBezTo>
                    <a:pt x="125" y="98"/>
                    <a:pt x="112" y="97"/>
                    <a:pt x="99" y="90"/>
                  </a:cubicBezTo>
                  <a:cubicBezTo>
                    <a:pt x="99" y="90"/>
                    <a:pt x="99" y="90"/>
                    <a:pt x="99" y="90"/>
                  </a:cubicBezTo>
                  <a:cubicBezTo>
                    <a:pt x="98" y="89"/>
                    <a:pt x="98" y="89"/>
                    <a:pt x="98" y="89"/>
                  </a:cubicBezTo>
                  <a:cubicBezTo>
                    <a:pt x="97" y="88"/>
                    <a:pt x="95" y="89"/>
                    <a:pt x="94" y="90"/>
                  </a:cubicBezTo>
                  <a:cubicBezTo>
                    <a:pt x="94" y="91"/>
                    <a:pt x="94" y="91"/>
                    <a:pt x="94" y="91"/>
                  </a:cubicBezTo>
                  <a:cubicBezTo>
                    <a:pt x="94" y="91"/>
                    <a:pt x="94" y="91"/>
                    <a:pt x="94" y="91"/>
                  </a:cubicBezTo>
                  <a:cubicBezTo>
                    <a:pt x="34" y="154"/>
                    <a:pt x="34" y="154"/>
                    <a:pt x="34" y="154"/>
                  </a:cubicBezTo>
                  <a:cubicBezTo>
                    <a:pt x="31" y="157"/>
                    <a:pt x="27" y="158"/>
                    <a:pt x="23" y="158"/>
                  </a:cubicBezTo>
                  <a:cubicBezTo>
                    <a:pt x="14" y="158"/>
                    <a:pt x="7" y="151"/>
                    <a:pt x="7" y="143"/>
                  </a:cubicBezTo>
                  <a:cubicBezTo>
                    <a:pt x="7" y="139"/>
                    <a:pt x="9" y="135"/>
                    <a:pt x="12" y="132"/>
                  </a:cubicBezTo>
                  <a:cubicBezTo>
                    <a:pt x="77" y="75"/>
                    <a:pt x="77" y="75"/>
                    <a:pt x="77" y="75"/>
                  </a:cubicBezTo>
                  <a:cubicBezTo>
                    <a:pt x="77" y="75"/>
                    <a:pt x="77" y="75"/>
                    <a:pt x="77" y="75"/>
                  </a:cubicBezTo>
                  <a:cubicBezTo>
                    <a:pt x="77" y="74"/>
                    <a:pt x="77" y="74"/>
                    <a:pt x="77" y="74"/>
                  </a:cubicBezTo>
                  <a:cubicBezTo>
                    <a:pt x="78" y="74"/>
                    <a:pt x="79" y="73"/>
                    <a:pt x="79" y="72"/>
                  </a:cubicBezTo>
                  <a:cubicBezTo>
                    <a:pt x="79" y="71"/>
                    <a:pt x="78" y="71"/>
                    <a:pt x="78" y="70"/>
                  </a:cubicBezTo>
                  <a:cubicBezTo>
                    <a:pt x="78" y="70"/>
                    <a:pt x="78" y="70"/>
                    <a:pt x="78" y="70"/>
                  </a:cubicBezTo>
                  <a:cubicBezTo>
                    <a:pt x="78" y="70"/>
                    <a:pt x="78" y="70"/>
                    <a:pt x="78" y="70"/>
                  </a:cubicBezTo>
                  <a:cubicBezTo>
                    <a:pt x="67" y="55"/>
                    <a:pt x="66" y="44"/>
                    <a:pt x="76" y="34"/>
                  </a:cubicBezTo>
                  <a:cubicBezTo>
                    <a:pt x="97" y="13"/>
                    <a:pt x="97" y="13"/>
                    <a:pt x="97" y="13"/>
                  </a:cubicBezTo>
                  <a:cubicBezTo>
                    <a:pt x="102" y="8"/>
                    <a:pt x="109" y="7"/>
                    <a:pt x="114" y="7"/>
                  </a:cubicBezTo>
                  <a:cubicBezTo>
                    <a:pt x="117" y="7"/>
                    <a:pt x="120" y="7"/>
                    <a:pt x="123" y="8"/>
                  </a:cubicBezTo>
                  <a:cubicBezTo>
                    <a:pt x="124" y="8"/>
                    <a:pt x="124" y="8"/>
                    <a:pt x="124" y="8"/>
                  </a:cubicBezTo>
                  <a:cubicBezTo>
                    <a:pt x="109" y="23"/>
                    <a:pt x="109" y="23"/>
                    <a:pt x="109" y="23"/>
                  </a:cubicBezTo>
                  <a:cubicBezTo>
                    <a:pt x="104" y="28"/>
                    <a:pt x="101" y="35"/>
                    <a:pt x="101" y="41"/>
                  </a:cubicBezTo>
                  <a:cubicBezTo>
                    <a:pt x="101" y="55"/>
                    <a:pt x="113" y="67"/>
                    <a:pt x="128" y="67"/>
                  </a:cubicBezTo>
                  <a:cubicBezTo>
                    <a:pt x="135" y="67"/>
                    <a:pt x="142" y="64"/>
                    <a:pt x="147" y="59"/>
                  </a:cubicBezTo>
                  <a:cubicBezTo>
                    <a:pt x="147" y="59"/>
                    <a:pt x="147" y="59"/>
                    <a:pt x="147" y="59"/>
                  </a:cubicBezTo>
                  <a:cubicBezTo>
                    <a:pt x="147" y="59"/>
                    <a:pt x="147" y="59"/>
                    <a:pt x="147" y="59"/>
                  </a:cubicBezTo>
                  <a:cubicBezTo>
                    <a:pt x="162" y="45"/>
                    <a:pt x="162" y="45"/>
                    <a:pt x="162" y="45"/>
                  </a:cubicBezTo>
                  <a:cubicBezTo>
                    <a:pt x="162" y="46"/>
                    <a:pt x="162" y="46"/>
                    <a:pt x="162" y="46"/>
                  </a:cubicBezTo>
                  <a:cubicBezTo>
                    <a:pt x="166" y="57"/>
                    <a:pt x="164" y="67"/>
                    <a:pt x="157" y="73"/>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 name="Freeform 33">
              <a:extLst>
                <a:ext uri="{FF2B5EF4-FFF2-40B4-BE49-F238E27FC236}">
                  <a16:creationId xmlns:a16="http://schemas.microsoft.com/office/drawing/2014/main" id="{914A0820-BC18-B429-164F-182B24F51599}"/>
                </a:ext>
              </a:extLst>
            </p:cNvPr>
            <p:cNvSpPr>
              <a:spLocks/>
            </p:cNvSpPr>
            <p:nvPr/>
          </p:nvSpPr>
          <p:spPr bwMode="auto">
            <a:xfrm>
              <a:off x="5054600" y="2644775"/>
              <a:ext cx="19050" cy="19050"/>
            </a:xfrm>
            <a:custGeom>
              <a:avLst/>
              <a:gdLst>
                <a:gd name="T0" fmla="*/ 3 w 6"/>
                <a:gd name="T1" fmla="*/ 0 h 6"/>
                <a:gd name="T2" fmla="*/ 1 w 6"/>
                <a:gd name="T3" fmla="*/ 0 h 6"/>
                <a:gd name="T4" fmla="*/ 1 w 6"/>
                <a:gd name="T5" fmla="*/ 0 h 6"/>
                <a:gd name="T6" fmla="*/ 0 w 6"/>
                <a:gd name="T7" fmla="*/ 3 h 6"/>
                <a:gd name="T8" fmla="*/ 3 w 6"/>
                <a:gd name="T9" fmla="*/ 6 h 6"/>
                <a:gd name="T10" fmla="*/ 6 w 6"/>
                <a:gd name="T11" fmla="*/ 3 h 6"/>
                <a:gd name="T12" fmla="*/ 3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0"/>
                  </a:moveTo>
                  <a:cubicBezTo>
                    <a:pt x="2" y="0"/>
                    <a:pt x="1" y="0"/>
                    <a:pt x="1" y="0"/>
                  </a:cubicBezTo>
                  <a:cubicBezTo>
                    <a:pt x="1" y="0"/>
                    <a:pt x="1" y="0"/>
                    <a:pt x="1" y="0"/>
                  </a:cubicBezTo>
                  <a:cubicBezTo>
                    <a:pt x="0" y="1"/>
                    <a:pt x="0" y="2"/>
                    <a:pt x="0" y="3"/>
                  </a:cubicBezTo>
                  <a:cubicBezTo>
                    <a:pt x="0" y="4"/>
                    <a:pt x="1" y="6"/>
                    <a:pt x="3" y="6"/>
                  </a:cubicBezTo>
                  <a:cubicBezTo>
                    <a:pt x="5" y="6"/>
                    <a:pt x="6" y="4"/>
                    <a:pt x="6" y="3"/>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3" name="Title 2">
            <a:extLst>
              <a:ext uri="{FF2B5EF4-FFF2-40B4-BE49-F238E27FC236}">
                <a16:creationId xmlns:a16="http://schemas.microsoft.com/office/drawing/2014/main" id="{70A675F7-CAF4-83EC-53BD-56B259073B05}"/>
              </a:ext>
            </a:extLst>
          </p:cNvPr>
          <p:cNvSpPr>
            <a:spLocks noGrp="1"/>
          </p:cNvSpPr>
          <p:nvPr>
            <p:ph type="title"/>
          </p:nvPr>
        </p:nvSpPr>
        <p:spPr>
          <a:xfrm>
            <a:off x="539997" y="553634"/>
            <a:ext cx="8820000" cy="341618"/>
          </a:xfrm>
        </p:spPr>
        <p:txBody>
          <a:bodyPr vert="horz"/>
          <a:lstStyle/>
          <a:p>
            <a:r>
              <a:rPr lang="en-AU" dirty="0">
                <a:latin typeface="VIC SemiBold" panose="00000700000000000000" pitchFamily="2" charset="0"/>
              </a:rPr>
              <a:t>Inspection types</a:t>
            </a:r>
            <a:r>
              <a:rPr lang="en-AU" dirty="0"/>
              <a:t> | Consider how a responsive inspection may be triggered</a:t>
            </a:r>
          </a:p>
        </p:txBody>
      </p:sp>
      <p:sp>
        <p:nvSpPr>
          <p:cNvPr id="6" name="Content Placeholder 1">
            <a:extLst>
              <a:ext uri="{FF2B5EF4-FFF2-40B4-BE49-F238E27FC236}">
                <a16:creationId xmlns:a16="http://schemas.microsoft.com/office/drawing/2014/main" id="{E1296918-AD6D-C9E2-9E46-991182C85F7C}"/>
              </a:ext>
            </a:extLst>
          </p:cNvPr>
          <p:cNvSpPr txBox="1">
            <a:spLocks/>
          </p:cNvSpPr>
          <p:nvPr/>
        </p:nvSpPr>
        <p:spPr>
          <a:xfrm>
            <a:off x="539999" y="1275641"/>
            <a:ext cx="8820000" cy="603273"/>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400"/>
              </a:spcAft>
              <a:buClr>
                <a:schemeClr val="tx2"/>
              </a:buClr>
              <a:buFont typeface="Arial" panose="020B0604020202020204" pitchFamily="34" charset="0"/>
              <a:buNone/>
            </a:pPr>
            <a:r>
              <a:rPr lang="en-AU" dirty="0">
                <a:latin typeface="VIC SemiBold"/>
                <a:cs typeface="Segoe UI"/>
              </a:rPr>
              <a:t>This tool defines inspection types as strategic, maintenance, and responsive, which are described below. However, </a:t>
            </a:r>
            <a:r>
              <a:rPr lang="en-AU" dirty="0">
                <a:cs typeface="Segoe UI"/>
              </a:rPr>
              <a:t>you may use your own terminology or corresponding types. The inspection triggers in this tool are most relevant to </a:t>
            </a:r>
            <a:r>
              <a:rPr lang="en-AU" b="1" dirty="0">
                <a:latin typeface="VIC SemiBold" panose="00000700000000000000" pitchFamily="50" charset="0"/>
                <a:cs typeface="Segoe UI"/>
              </a:rPr>
              <a:t>responsive inspections</a:t>
            </a:r>
            <a:r>
              <a:rPr lang="en-AU" dirty="0">
                <a:cs typeface="Segoe UI"/>
              </a:rPr>
              <a:t>. </a:t>
            </a:r>
          </a:p>
        </p:txBody>
      </p:sp>
      <p:grpSp>
        <p:nvGrpSpPr>
          <p:cNvPr id="22" name="Group 21">
            <a:extLst>
              <a:ext uri="{FF2B5EF4-FFF2-40B4-BE49-F238E27FC236}">
                <a16:creationId xmlns:a16="http://schemas.microsoft.com/office/drawing/2014/main" id="{9434D0D8-A858-B36E-9E45-E54EFF9914AF}"/>
              </a:ext>
            </a:extLst>
          </p:cNvPr>
          <p:cNvGrpSpPr>
            <a:grpSpLocks noChangeAspect="1"/>
          </p:cNvGrpSpPr>
          <p:nvPr/>
        </p:nvGrpSpPr>
        <p:grpSpPr>
          <a:xfrm>
            <a:off x="539997" y="1959632"/>
            <a:ext cx="369362" cy="369363"/>
            <a:chOff x="721518" y="1050677"/>
            <a:chExt cx="539750" cy="539751"/>
          </a:xfrm>
          <a:solidFill>
            <a:schemeClr val="bg2"/>
          </a:solidFill>
        </p:grpSpPr>
        <p:sp>
          <p:nvSpPr>
            <p:cNvPr id="23" name="Freeform 103">
              <a:extLst>
                <a:ext uri="{FF2B5EF4-FFF2-40B4-BE49-F238E27FC236}">
                  <a16:creationId xmlns:a16="http://schemas.microsoft.com/office/drawing/2014/main" id="{0704EE71-6AC4-5712-F617-9465813A6CE1}"/>
                </a:ext>
              </a:extLst>
            </p:cNvPr>
            <p:cNvSpPr>
              <a:spLocks/>
            </p:cNvSpPr>
            <p:nvPr/>
          </p:nvSpPr>
          <p:spPr bwMode="auto">
            <a:xfrm>
              <a:off x="721518" y="1050677"/>
              <a:ext cx="539750" cy="530225"/>
            </a:xfrm>
            <a:custGeom>
              <a:avLst/>
              <a:gdLst>
                <a:gd name="T0" fmla="*/ 88 w 169"/>
                <a:gd name="T1" fmla="*/ 0 h 166"/>
                <a:gd name="T2" fmla="*/ 85 w 169"/>
                <a:gd name="T3" fmla="*/ 0 h 166"/>
                <a:gd name="T4" fmla="*/ 26 w 169"/>
                <a:gd name="T5" fmla="*/ 24 h 166"/>
                <a:gd name="T6" fmla="*/ 0 w 169"/>
                <a:gd name="T7" fmla="*/ 83 h 166"/>
                <a:gd name="T8" fmla="*/ 70 w 169"/>
                <a:gd name="T9" fmla="*/ 166 h 166"/>
                <a:gd name="T10" fmla="*/ 71 w 169"/>
                <a:gd name="T11" fmla="*/ 166 h 166"/>
                <a:gd name="T12" fmla="*/ 74 w 169"/>
                <a:gd name="T13" fmla="*/ 163 h 166"/>
                <a:gd name="T14" fmla="*/ 74 w 169"/>
                <a:gd name="T15" fmla="*/ 163 h 166"/>
                <a:gd name="T16" fmla="*/ 74 w 169"/>
                <a:gd name="T17" fmla="*/ 161 h 166"/>
                <a:gd name="T18" fmla="*/ 71 w 169"/>
                <a:gd name="T19" fmla="*/ 160 h 166"/>
                <a:gd name="T20" fmla="*/ 25 w 169"/>
                <a:gd name="T21" fmla="*/ 134 h 166"/>
                <a:gd name="T22" fmla="*/ 6 w 169"/>
                <a:gd name="T23" fmla="*/ 83 h 166"/>
                <a:gd name="T24" fmla="*/ 30 w 169"/>
                <a:gd name="T25" fmla="*/ 28 h 166"/>
                <a:gd name="T26" fmla="*/ 87 w 169"/>
                <a:gd name="T27" fmla="*/ 6 h 166"/>
                <a:gd name="T28" fmla="*/ 163 w 169"/>
                <a:gd name="T29" fmla="*/ 83 h 166"/>
                <a:gd name="T30" fmla="*/ 97 w 169"/>
                <a:gd name="T31" fmla="*/ 160 h 166"/>
                <a:gd name="T32" fmla="*/ 95 w 169"/>
                <a:gd name="T33" fmla="*/ 163 h 166"/>
                <a:gd name="T34" fmla="*/ 98 w 169"/>
                <a:gd name="T35" fmla="*/ 166 h 166"/>
                <a:gd name="T36" fmla="*/ 169 w 169"/>
                <a:gd name="T37" fmla="*/ 83 h 166"/>
                <a:gd name="T38" fmla="*/ 88 w 169"/>
                <a:gd name="T3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66">
                  <a:moveTo>
                    <a:pt x="88" y="0"/>
                  </a:moveTo>
                  <a:cubicBezTo>
                    <a:pt x="87" y="0"/>
                    <a:pt x="86" y="0"/>
                    <a:pt x="85" y="0"/>
                  </a:cubicBezTo>
                  <a:cubicBezTo>
                    <a:pt x="63" y="0"/>
                    <a:pt x="42" y="8"/>
                    <a:pt x="26" y="24"/>
                  </a:cubicBezTo>
                  <a:cubicBezTo>
                    <a:pt x="9" y="40"/>
                    <a:pt x="0" y="60"/>
                    <a:pt x="0" y="83"/>
                  </a:cubicBezTo>
                  <a:cubicBezTo>
                    <a:pt x="0" y="124"/>
                    <a:pt x="29" y="159"/>
                    <a:pt x="70" y="166"/>
                  </a:cubicBezTo>
                  <a:cubicBezTo>
                    <a:pt x="71" y="166"/>
                    <a:pt x="71" y="166"/>
                    <a:pt x="71" y="166"/>
                  </a:cubicBezTo>
                  <a:cubicBezTo>
                    <a:pt x="72" y="166"/>
                    <a:pt x="74" y="165"/>
                    <a:pt x="74" y="163"/>
                  </a:cubicBezTo>
                  <a:cubicBezTo>
                    <a:pt x="74" y="163"/>
                    <a:pt x="74" y="163"/>
                    <a:pt x="74" y="163"/>
                  </a:cubicBezTo>
                  <a:cubicBezTo>
                    <a:pt x="74" y="162"/>
                    <a:pt x="74" y="162"/>
                    <a:pt x="74" y="161"/>
                  </a:cubicBezTo>
                  <a:cubicBezTo>
                    <a:pt x="73" y="160"/>
                    <a:pt x="72" y="160"/>
                    <a:pt x="71" y="160"/>
                  </a:cubicBezTo>
                  <a:cubicBezTo>
                    <a:pt x="53" y="157"/>
                    <a:pt x="37" y="148"/>
                    <a:pt x="25" y="134"/>
                  </a:cubicBezTo>
                  <a:cubicBezTo>
                    <a:pt x="13" y="120"/>
                    <a:pt x="6" y="102"/>
                    <a:pt x="6" y="83"/>
                  </a:cubicBezTo>
                  <a:cubicBezTo>
                    <a:pt x="6" y="63"/>
                    <a:pt x="15" y="42"/>
                    <a:pt x="30" y="28"/>
                  </a:cubicBezTo>
                  <a:cubicBezTo>
                    <a:pt x="46" y="13"/>
                    <a:pt x="67" y="5"/>
                    <a:pt x="87" y="6"/>
                  </a:cubicBezTo>
                  <a:cubicBezTo>
                    <a:pt x="129" y="8"/>
                    <a:pt x="163" y="43"/>
                    <a:pt x="163" y="83"/>
                  </a:cubicBezTo>
                  <a:cubicBezTo>
                    <a:pt x="163" y="122"/>
                    <a:pt x="135" y="154"/>
                    <a:pt x="97" y="160"/>
                  </a:cubicBezTo>
                  <a:cubicBezTo>
                    <a:pt x="96" y="160"/>
                    <a:pt x="95" y="162"/>
                    <a:pt x="95" y="163"/>
                  </a:cubicBezTo>
                  <a:cubicBezTo>
                    <a:pt x="96" y="165"/>
                    <a:pt x="97" y="166"/>
                    <a:pt x="98" y="166"/>
                  </a:cubicBezTo>
                  <a:cubicBezTo>
                    <a:pt x="139" y="159"/>
                    <a:pt x="169" y="124"/>
                    <a:pt x="169" y="83"/>
                  </a:cubicBezTo>
                  <a:cubicBezTo>
                    <a:pt x="169" y="39"/>
                    <a:pt x="133" y="2"/>
                    <a:pt x="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a:p>
          </p:txBody>
        </p:sp>
        <p:sp>
          <p:nvSpPr>
            <p:cNvPr id="24" name="Freeform 104">
              <a:extLst>
                <a:ext uri="{FF2B5EF4-FFF2-40B4-BE49-F238E27FC236}">
                  <a16:creationId xmlns:a16="http://schemas.microsoft.com/office/drawing/2014/main" id="{D6F70A59-5C08-2F9D-E93D-24C617E1D6E7}"/>
                </a:ext>
              </a:extLst>
            </p:cNvPr>
            <p:cNvSpPr>
              <a:spLocks/>
            </p:cNvSpPr>
            <p:nvPr/>
          </p:nvSpPr>
          <p:spPr bwMode="auto">
            <a:xfrm>
              <a:off x="797719" y="1126877"/>
              <a:ext cx="388938" cy="377826"/>
            </a:xfrm>
            <a:custGeom>
              <a:avLst/>
              <a:gdLst>
                <a:gd name="T0" fmla="*/ 73 w 122"/>
                <a:gd name="T1" fmla="*/ 116 h 118"/>
                <a:gd name="T2" fmla="*/ 73 w 122"/>
                <a:gd name="T3" fmla="*/ 116 h 118"/>
                <a:gd name="T4" fmla="*/ 74 w 122"/>
                <a:gd name="T5" fmla="*/ 118 h 118"/>
                <a:gd name="T6" fmla="*/ 76 w 122"/>
                <a:gd name="T7" fmla="*/ 118 h 118"/>
                <a:gd name="T8" fmla="*/ 122 w 122"/>
                <a:gd name="T9" fmla="*/ 59 h 118"/>
                <a:gd name="T10" fmla="*/ 60 w 122"/>
                <a:gd name="T11" fmla="*/ 0 h 118"/>
                <a:gd name="T12" fmla="*/ 0 w 122"/>
                <a:gd name="T13" fmla="*/ 59 h 118"/>
                <a:gd name="T14" fmla="*/ 45 w 122"/>
                <a:gd name="T15" fmla="*/ 118 h 118"/>
                <a:gd name="T16" fmla="*/ 46 w 122"/>
                <a:gd name="T17" fmla="*/ 118 h 118"/>
                <a:gd name="T18" fmla="*/ 49 w 122"/>
                <a:gd name="T19" fmla="*/ 116 h 118"/>
                <a:gd name="T20" fmla="*/ 49 w 122"/>
                <a:gd name="T21" fmla="*/ 116 h 118"/>
                <a:gd name="T22" fmla="*/ 46 w 122"/>
                <a:gd name="T23" fmla="*/ 112 h 118"/>
                <a:gd name="T24" fmla="*/ 6 w 122"/>
                <a:gd name="T25" fmla="*/ 59 h 118"/>
                <a:gd name="T26" fmla="*/ 60 w 122"/>
                <a:gd name="T27" fmla="*/ 6 h 118"/>
                <a:gd name="T28" fmla="*/ 99 w 122"/>
                <a:gd name="T29" fmla="*/ 22 h 118"/>
                <a:gd name="T30" fmla="*/ 116 w 122"/>
                <a:gd name="T31" fmla="*/ 59 h 118"/>
                <a:gd name="T32" fmla="*/ 74 w 122"/>
                <a:gd name="T33" fmla="*/ 112 h 118"/>
                <a:gd name="T34" fmla="*/ 73 w 122"/>
                <a:gd name="T35" fmla="*/ 11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18">
                  <a:moveTo>
                    <a:pt x="73" y="116"/>
                  </a:moveTo>
                  <a:cubicBezTo>
                    <a:pt x="73" y="116"/>
                    <a:pt x="73" y="116"/>
                    <a:pt x="73" y="116"/>
                  </a:cubicBezTo>
                  <a:cubicBezTo>
                    <a:pt x="73" y="117"/>
                    <a:pt x="73" y="118"/>
                    <a:pt x="74" y="118"/>
                  </a:cubicBezTo>
                  <a:cubicBezTo>
                    <a:pt x="74" y="118"/>
                    <a:pt x="75" y="118"/>
                    <a:pt x="76" y="118"/>
                  </a:cubicBezTo>
                  <a:cubicBezTo>
                    <a:pt x="103" y="111"/>
                    <a:pt x="122" y="87"/>
                    <a:pt x="122" y="59"/>
                  </a:cubicBezTo>
                  <a:cubicBezTo>
                    <a:pt x="122" y="27"/>
                    <a:pt x="94" y="0"/>
                    <a:pt x="60" y="0"/>
                  </a:cubicBezTo>
                  <a:cubicBezTo>
                    <a:pt x="27" y="0"/>
                    <a:pt x="0" y="27"/>
                    <a:pt x="0" y="59"/>
                  </a:cubicBezTo>
                  <a:cubicBezTo>
                    <a:pt x="0" y="87"/>
                    <a:pt x="18" y="111"/>
                    <a:pt x="45" y="118"/>
                  </a:cubicBezTo>
                  <a:cubicBezTo>
                    <a:pt x="46" y="118"/>
                    <a:pt x="46" y="118"/>
                    <a:pt x="46" y="118"/>
                  </a:cubicBezTo>
                  <a:cubicBezTo>
                    <a:pt x="47" y="118"/>
                    <a:pt x="49" y="117"/>
                    <a:pt x="49" y="116"/>
                  </a:cubicBezTo>
                  <a:cubicBezTo>
                    <a:pt x="49" y="116"/>
                    <a:pt x="49" y="116"/>
                    <a:pt x="49" y="116"/>
                  </a:cubicBezTo>
                  <a:cubicBezTo>
                    <a:pt x="50" y="115"/>
                    <a:pt x="48" y="113"/>
                    <a:pt x="46" y="112"/>
                  </a:cubicBezTo>
                  <a:cubicBezTo>
                    <a:pt x="22" y="106"/>
                    <a:pt x="6" y="85"/>
                    <a:pt x="6" y="59"/>
                  </a:cubicBezTo>
                  <a:cubicBezTo>
                    <a:pt x="6" y="30"/>
                    <a:pt x="30" y="6"/>
                    <a:pt x="60" y="6"/>
                  </a:cubicBezTo>
                  <a:cubicBezTo>
                    <a:pt x="75" y="6"/>
                    <a:pt x="89" y="12"/>
                    <a:pt x="99" y="22"/>
                  </a:cubicBezTo>
                  <a:cubicBezTo>
                    <a:pt x="110" y="32"/>
                    <a:pt x="116" y="45"/>
                    <a:pt x="116" y="59"/>
                  </a:cubicBezTo>
                  <a:cubicBezTo>
                    <a:pt x="116" y="84"/>
                    <a:pt x="99" y="106"/>
                    <a:pt x="74" y="112"/>
                  </a:cubicBezTo>
                  <a:cubicBezTo>
                    <a:pt x="73" y="113"/>
                    <a:pt x="72" y="114"/>
                    <a:pt x="73"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a:p>
          </p:txBody>
        </p:sp>
        <p:sp>
          <p:nvSpPr>
            <p:cNvPr id="25" name="Freeform 105">
              <a:extLst>
                <a:ext uri="{FF2B5EF4-FFF2-40B4-BE49-F238E27FC236}">
                  <a16:creationId xmlns:a16="http://schemas.microsoft.com/office/drawing/2014/main" id="{A00A3C24-ACEB-4D04-3E0C-BC591089DF6D}"/>
                </a:ext>
              </a:extLst>
            </p:cNvPr>
            <p:cNvSpPr>
              <a:spLocks/>
            </p:cNvSpPr>
            <p:nvPr/>
          </p:nvSpPr>
          <p:spPr bwMode="auto">
            <a:xfrm>
              <a:off x="873918" y="1211015"/>
              <a:ext cx="233363" cy="211138"/>
            </a:xfrm>
            <a:custGeom>
              <a:avLst/>
              <a:gdLst>
                <a:gd name="T0" fmla="*/ 55 w 73"/>
                <a:gd name="T1" fmla="*/ 61 h 66"/>
                <a:gd name="T2" fmla="*/ 53 w 73"/>
                <a:gd name="T3" fmla="*/ 63 h 66"/>
                <a:gd name="T4" fmla="*/ 54 w 73"/>
                <a:gd name="T5" fmla="*/ 64 h 66"/>
                <a:gd name="T6" fmla="*/ 54 w 73"/>
                <a:gd name="T7" fmla="*/ 64 h 66"/>
                <a:gd name="T8" fmla="*/ 55 w 73"/>
                <a:gd name="T9" fmla="*/ 66 h 66"/>
                <a:gd name="T10" fmla="*/ 58 w 73"/>
                <a:gd name="T11" fmla="*/ 65 h 66"/>
                <a:gd name="T12" fmla="*/ 73 w 73"/>
                <a:gd name="T13" fmla="*/ 36 h 66"/>
                <a:gd name="T14" fmla="*/ 36 w 73"/>
                <a:gd name="T15" fmla="*/ 0 h 66"/>
                <a:gd name="T16" fmla="*/ 0 w 73"/>
                <a:gd name="T17" fmla="*/ 36 h 66"/>
                <a:gd name="T18" fmla="*/ 15 w 73"/>
                <a:gd name="T19" fmla="*/ 66 h 66"/>
                <a:gd name="T20" fmla="*/ 17 w 73"/>
                <a:gd name="T21" fmla="*/ 66 h 66"/>
                <a:gd name="T22" fmla="*/ 20 w 73"/>
                <a:gd name="T23" fmla="*/ 65 h 66"/>
                <a:gd name="T24" fmla="*/ 19 w 73"/>
                <a:gd name="T25" fmla="*/ 61 h 66"/>
                <a:gd name="T26" fmla="*/ 6 w 73"/>
                <a:gd name="T27" fmla="*/ 36 h 66"/>
                <a:gd name="T28" fmla="*/ 36 w 73"/>
                <a:gd name="T29" fmla="*/ 6 h 66"/>
                <a:gd name="T30" fmla="*/ 67 w 73"/>
                <a:gd name="T31" fmla="*/ 36 h 66"/>
                <a:gd name="T32" fmla="*/ 55 w 73"/>
                <a:gd name="T33"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6">
                  <a:moveTo>
                    <a:pt x="55" y="61"/>
                  </a:moveTo>
                  <a:cubicBezTo>
                    <a:pt x="54" y="61"/>
                    <a:pt x="53" y="62"/>
                    <a:pt x="53" y="63"/>
                  </a:cubicBezTo>
                  <a:cubicBezTo>
                    <a:pt x="53" y="63"/>
                    <a:pt x="53" y="64"/>
                    <a:pt x="54" y="64"/>
                  </a:cubicBezTo>
                  <a:cubicBezTo>
                    <a:pt x="54" y="64"/>
                    <a:pt x="54" y="64"/>
                    <a:pt x="54" y="64"/>
                  </a:cubicBezTo>
                  <a:cubicBezTo>
                    <a:pt x="54" y="65"/>
                    <a:pt x="54" y="65"/>
                    <a:pt x="55" y="66"/>
                  </a:cubicBezTo>
                  <a:cubicBezTo>
                    <a:pt x="56" y="66"/>
                    <a:pt x="57" y="66"/>
                    <a:pt x="58" y="65"/>
                  </a:cubicBezTo>
                  <a:cubicBezTo>
                    <a:pt x="67" y="58"/>
                    <a:pt x="73" y="47"/>
                    <a:pt x="73" y="36"/>
                  </a:cubicBezTo>
                  <a:cubicBezTo>
                    <a:pt x="73" y="15"/>
                    <a:pt x="57" y="0"/>
                    <a:pt x="36" y="0"/>
                  </a:cubicBezTo>
                  <a:cubicBezTo>
                    <a:pt x="16" y="0"/>
                    <a:pt x="0" y="16"/>
                    <a:pt x="0" y="36"/>
                  </a:cubicBezTo>
                  <a:cubicBezTo>
                    <a:pt x="0" y="48"/>
                    <a:pt x="6" y="59"/>
                    <a:pt x="15" y="66"/>
                  </a:cubicBezTo>
                  <a:cubicBezTo>
                    <a:pt x="17" y="66"/>
                    <a:pt x="17" y="66"/>
                    <a:pt x="17" y="66"/>
                  </a:cubicBezTo>
                  <a:cubicBezTo>
                    <a:pt x="18" y="66"/>
                    <a:pt x="19" y="66"/>
                    <a:pt x="20" y="65"/>
                  </a:cubicBezTo>
                  <a:cubicBezTo>
                    <a:pt x="21" y="64"/>
                    <a:pt x="21" y="62"/>
                    <a:pt x="19" y="61"/>
                  </a:cubicBezTo>
                  <a:cubicBezTo>
                    <a:pt x="11" y="55"/>
                    <a:pt x="6" y="45"/>
                    <a:pt x="6" y="36"/>
                  </a:cubicBezTo>
                  <a:cubicBezTo>
                    <a:pt x="6" y="20"/>
                    <a:pt x="20" y="6"/>
                    <a:pt x="36" y="6"/>
                  </a:cubicBezTo>
                  <a:cubicBezTo>
                    <a:pt x="54" y="6"/>
                    <a:pt x="67" y="19"/>
                    <a:pt x="67" y="36"/>
                  </a:cubicBezTo>
                  <a:cubicBezTo>
                    <a:pt x="67" y="45"/>
                    <a:pt x="62" y="54"/>
                    <a:pt x="55"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a:p>
          </p:txBody>
        </p:sp>
        <p:sp>
          <p:nvSpPr>
            <p:cNvPr id="29" name="Freeform 106">
              <a:extLst>
                <a:ext uri="{FF2B5EF4-FFF2-40B4-BE49-F238E27FC236}">
                  <a16:creationId xmlns:a16="http://schemas.microsoft.com/office/drawing/2014/main" id="{EEA34068-0CB3-783B-D34D-748ABB6A4DC0}"/>
                </a:ext>
              </a:extLst>
            </p:cNvPr>
            <p:cNvSpPr>
              <a:spLocks/>
            </p:cNvSpPr>
            <p:nvPr/>
          </p:nvSpPr>
          <p:spPr bwMode="auto">
            <a:xfrm>
              <a:off x="939006" y="1303090"/>
              <a:ext cx="107950" cy="287338"/>
            </a:xfrm>
            <a:custGeom>
              <a:avLst/>
              <a:gdLst>
                <a:gd name="T0" fmla="*/ 31 w 34"/>
                <a:gd name="T1" fmla="*/ 20 h 90"/>
                <a:gd name="T2" fmla="*/ 34 w 34"/>
                <a:gd name="T3" fmla="*/ 18 h 90"/>
                <a:gd name="T4" fmla="*/ 33 w 34"/>
                <a:gd name="T5" fmla="*/ 15 h 90"/>
                <a:gd name="T6" fmla="*/ 19 w 34"/>
                <a:gd name="T7" fmla="*/ 1 h 90"/>
                <a:gd name="T8" fmla="*/ 17 w 34"/>
                <a:gd name="T9" fmla="*/ 0 h 90"/>
                <a:gd name="T10" fmla="*/ 16 w 34"/>
                <a:gd name="T11" fmla="*/ 0 h 90"/>
                <a:gd name="T12" fmla="*/ 15 w 34"/>
                <a:gd name="T13" fmla="*/ 1 h 90"/>
                <a:gd name="T14" fmla="*/ 1 w 34"/>
                <a:gd name="T15" fmla="*/ 15 h 90"/>
                <a:gd name="T16" fmla="*/ 0 w 34"/>
                <a:gd name="T17" fmla="*/ 18 h 90"/>
                <a:gd name="T18" fmla="*/ 2 w 34"/>
                <a:gd name="T19" fmla="*/ 20 h 90"/>
                <a:gd name="T20" fmla="*/ 5 w 34"/>
                <a:gd name="T21" fmla="*/ 19 h 90"/>
                <a:gd name="T22" fmla="*/ 14 w 34"/>
                <a:gd name="T23" fmla="*/ 11 h 90"/>
                <a:gd name="T24" fmla="*/ 14 w 34"/>
                <a:gd name="T25" fmla="*/ 87 h 90"/>
                <a:gd name="T26" fmla="*/ 17 w 34"/>
                <a:gd name="T27" fmla="*/ 90 h 90"/>
                <a:gd name="T28" fmla="*/ 20 w 34"/>
                <a:gd name="T29" fmla="*/ 87 h 90"/>
                <a:gd name="T30" fmla="*/ 20 w 34"/>
                <a:gd name="T31" fmla="*/ 11 h 90"/>
                <a:gd name="T32" fmla="*/ 29 w 34"/>
                <a:gd name="T33" fmla="*/ 19 h 90"/>
                <a:gd name="T34" fmla="*/ 31 w 34"/>
                <a:gd name="T35"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90">
                  <a:moveTo>
                    <a:pt x="31" y="20"/>
                  </a:moveTo>
                  <a:cubicBezTo>
                    <a:pt x="33" y="20"/>
                    <a:pt x="34" y="19"/>
                    <a:pt x="34" y="18"/>
                  </a:cubicBezTo>
                  <a:cubicBezTo>
                    <a:pt x="34" y="17"/>
                    <a:pt x="34" y="16"/>
                    <a:pt x="33" y="15"/>
                  </a:cubicBezTo>
                  <a:cubicBezTo>
                    <a:pt x="19" y="1"/>
                    <a:pt x="19" y="1"/>
                    <a:pt x="19" y="1"/>
                  </a:cubicBezTo>
                  <a:cubicBezTo>
                    <a:pt x="19" y="1"/>
                    <a:pt x="18" y="0"/>
                    <a:pt x="17" y="0"/>
                  </a:cubicBezTo>
                  <a:cubicBezTo>
                    <a:pt x="17" y="0"/>
                    <a:pt x="17" y="0"/>
                    <a:pt x="16" y="0"/>
                  </a:cubicBezTo>
                  <a:cubicBezTo>
                    <a:pt x="16" y="1"/>
                    <a:pt x="15" y="1"/>
                    <a:pt x="15" y="1"/>
                  </a:cubicBezTo>
                  <a:cubicBezTo>
                    <a:pt x="1" y="15"/>
                    <a:pt x="1" y="15"/>
                    <a:pt x="1" y="15"/>
                  </a:cubicBezTo>
                  <a:cubicBezTo>
                    <a:pt x="0" y="16"/>
                    <a:pt x="0" y="17"/>
                    <a:pt x="0" y="18"/>
                  </a:cubicBezTo>
                  <a:cubicBezTo>
                    <a:pt x="0" y="19"/>
                    <a:pt x="1" y="20"/>
                    <a:pt x="2" y="20"/>
                  </a:cubicBezTo>
                  <a:cubicBezTo>
                    <a:pt x="3" y="20"/>
                    <a:pt x="4" y="20"/>
                    <a:pt x="5" y="19"/>
                  </a:cubicBezTo>
                  <a:cubicBezTo>
                    <a:pt x="14" y="11"/>
                    <a:pt x="14" y="11"/>
                    <a:pt x="14" y="11"/>
                  </a:cubicBezTo>
                  <a:cubicBezTo>
                    <a:pt x="14" y="87"/>
                    <a:pt x="14" y="87"/>
                    <a:pt x="14" y="87"/>
                  </a:cubicBezTo>
                  <a:cubicBezTo>
                    <a:pt x="14" y="89"/>
                    <a:pt x="16" y="90"/>
                    <a:pt x="17" y="90"/>
                  </a:cubicBezTo>
                  <a:cubicBezTo>
                    <a:pt x="19" y="90"/>
                    <a:pt x="20" y="89"/>
                    <a:pt x="20" y="87"/>
                  </a:cubicBezTo>
                  <a:cubicBezTo>
                    <a:pt x="20" y="11"/>
                    <a:pt x="20" y="11"/>
                    <a:pt x="20" y="11"/>
                  </a:cubicBezTo>
                  <a:cubicBezTo>
                    <a:pt x="29" y="19"/>
                    <a:pt x="29" y="19"/>
                    <a:pt x="29" y="19"/>
                  </a:cubicBezTo>
                  <a:cubicBezTo>
                    <a:pt x="30" y="20"/>
                    <a:pt x="31" y="20"/>
                    <a:pt x="3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a:p>
          </p:txBody>
        </p:sp>
      </p:grpSp>
      <p:sp>
        <p:nvSpPr>
          <p:cNvPr id="43" name="Rectangle 42">
            <a:extLst>
              <a:ext uri="{FF2B5EF4-FFF2-40B4-BE49-F238E27FC236}">
                <a16:creationId xmlns:a16="http://schemas.microsoft.com/office/drawing/2014/main" id="{E4BBEB7A-B70E-C2FB-D323-11ECD914BD2B}"/>
              </a:ext>
            </a:extLst>
          </p:cNvPr>
          <p:cNvSpPr/>
          <p:nvPr/>
        </p:nvSpPr>
        <p:spPr>
          <a:xfrm>
            <a:off x="539997" y="2402173"/>
            <a:ext cx="2897666" cy="2360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72000" rIns="90000" bIns="54000" rtlCol="0" anchor="t">
            <a:noAutofit/>
          </a:bodyPr>
          <a:lstStyle/>
          <a:p>
            <a:pPr defTabSz="914400">
              <a:spcAft>
                <a:spcPts val="600"/>
              </a:spcAft>
              <a:defRPr/>
            </a:pPr>
            <a:r>
              <a:rPr lang="en-AU" sz="1050" b="1" dirty="0">
                <a:solidFill>
                  <a:schemeClr val="tx2"/>
                </a:solidFill>
              </a:rPr>
              <a:t>Definition</a:t>
            </a:r>
            <a:r>
              <a:rPr lang="en-AU" sz="1050" dirty="0">
                <a:solidFill>
                  <a:schemeClr val="tx2"/>
                </a:solidFill>
              </a:rPr>
              <a:t>: a form of proactive or targeted program of inspections targeting a particular outcome or harm.</a:t>
            </a:r>
            <a:br>
              <a:rPr lang="en-AU" sz="1050" dirty="0">
                <a:solidFill>
                  <a:schemeClr val="tx2"/>
                </a:solidFill>
              </a:rPr>
            </a:br>
            <a:endParaRPr lang="en-AU" sz="1050" dirty="0">
              <a:solidFill>
                <a:schemeClr val="tx2"/>
              </a:solidFill>
            </a:endParaRPr>
          </a:p>
          <a:p>
            <a:pPr>
              <a:spcAft>
                <a:spcPts val="600"/>
              </a:spcAft>
            </a:pPr>
            <a:r>
              <a:rPr lang="en-AU" sz="1050" b="1" dirty="0">
                <a:solidFill>
                  <a:schemeClr val="tx2"/>
                </a:solidFill>
                <a:latin typeface="VIC"/>
                <a:ea typeface="+mn-lt"/>
                <a:cs typeface="+mn-lt"/>
              </a:rPr>
              <a:t>Strategic</a:t>
            </a:r>
            <a:r>
              <a:rPr lang="en-AU" sz="1050" dirty="0">
                <a:solidFill>
                  <a:schemeClr val="tx2"/>
                </a:solidFill>
                <a:latin typeface="VIC"/>
                <a:ea typeface="+mn-lt"/>
                <a:cs typeface="+mn-lt"/>
              </a:rPr>
              <a:t> Analysis, decision-makers or stakeholders identify a specific issue/priority that should be addressed in a targeted approach (e.g., blitz or campaign).</a:t>
            </a:r>
            <a:endParaRPr lang="en-AU" sz="1050" dirty="0">
              <a:solidFill>
                <a:schemeClr val="tx2"/>
              </a:solidFill>
            </a:endParaRPr>
          </a:p>
        </p:txBody>
      </p:sp>
      <p:sp>
        <p:nvSpPr>
          <p:cNvPr id="46" name="Rectangle 45">
            <a:extLst>
              <a:ext uri="{FF2B5EF4-FFF2-40B4-BE49-F238E27FC236}">
                <a16:creationId xmlns:a16="http://schemas.microsoft.com/office/drawing/2014/main" id="{F35C4228-DD9B-96EE-0B02-E15C982AA04B}"/>
              </a:ext>
            </a:extLst>
          </p:cNvPr>
          <p:cNvSpPr/>
          <p:nvPr/>
        </p:nvSpPr>
        <p:spPr>
          <a:xfrm>
            <a:off x="883358" y="1849755"/>
            <a:ext cx="2897666" cy="4727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p>
            <a:r>
              <a:rPr lang="en-AU" sz="1050" dirty="0">
                <a:solidFill>
                  <a:schemeClr val="tx2"/>
                </a:solidFill>
                <a:latin typeface="VIC SemiBold" panose="00000700000000000000" pitchFamily="50" charset="0"/>
              </a:rPr>
              <a:t>STRATEGIC INSPECTION</a:t>
            </a:r>
          </a:p>
        </p:txBody>
      </p:sp>
      <p:cxnSp>
        <p:nvCxnSpPr>
          <p:cNvPr id="54" name="Straight Connector 53">
            <a:extLst>
              <a:ext uri="{FF2B5EF4-FFF2-40B4-BE49-F238E27FC236}">
                <a16:creationId xmlns:a16="http://schemas.microsoft.com/office/drawing/2014/main" id="{0CEAF42F-2C5C-D3FB-1984-565252F2AF23}"/>
              </a:ext>
            </a:extLst>
          </p:cNvPr>
          <p:cNvCxnSpPr>
            <a:cxnSpLocks/>
          </p:cNvCxnSpPr>
          <p:nvPr/>
        </p:nvCxnSpPr>
        <p:spPr>
          <a:xfrm flipV="1">
            <a:off x="539997" y="2402173"/>
            <a:ext cx="2897667" cy="4953"/>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49B164B3-1D0F-F092-974E-A4E1614E3E7B}"/>
              </a:ext>
            </a:extLst>
          </p:cNvPr>
          <p:cNvGrpSpPr>
            <a:grpSpLocks noChangeAspect="1"/>
          </p:cNvGrpSpPr>
          <p:nvPr/>
        </p:nvGrpSpPr>
        <p:grpSpPr>
          <a:xfrm>
            <a:off x="6405491" y="1968930"/>
            <a:ext cx="369362" cy="360672"/>
            <a:chOff x="6143086" y="2136527"/>
            <a:chExt cx="539750" cy="527051"/>
          </a:xfrm>
          <a:solidFill>
            <a:schemeClr val="accent3"/>
          </a:solidFill>
        </p:grpSpPr>
        <p:sp>
          <p:nvSpPr>
            <p:cNvPr id="37" name="Freeform 47">
              <a:extLst>
                <a:ext uri="{FF2B5EF4-FFF2-40B4-BE49-F238E27FC236}">
                  <a16:creationId xmlns:a16="http://schemas.microsoft.com/office/drawing/2014/main" id="{BFEE6266-3ADD-34FF-4E15-EF2B5379CF0E}"/>
                </a:ext>
              </a:extLst>
            </p:cNvPr>
            <p:cNvSpPr>
              <a:spLocks noEditPoints="1"/>
            </p:cNvSpPr>
            <p:nvPr/>
          </p:nvSpPr>
          <p:spPr bwMode="auto">
            <a:xfrm>
              <a:off x="6265323" y="2258765"/>
              <a:ext cx="417513" cy="404813"/>
            </a:xfrm>
            <a:custGeom>
              <a:avLst/>
              <a:gdLst>
                <a:gd name="T0" fmla="*/ 94 w 131"/>
                <a:gd name="T1" fmla="*/ 87 h 127"/>
                <a:gd name="T2" fmla="*/ 94 w 131"/>
                <a:gd name="T3" fmla="*/ 87 h 127"/>
                <a:gd name="T4" fmla="*/ 107 w 131"/>
                <a:gd name="T5" fmla="*/ 52 h 127"/>
                <a:gd name="T6" fmla="*/ 54 w 131"/>
                <a:gd name="T7" fmla="*/ 0 h 127"/>
                <a:gd name="T8" fmla="*/ 0 w 131"/>
                <a:gd name="T9" fmla="*/ 52 h 127"/>
                <a:gd name="T10" fmla="*/ 54 w 131"/>
                <a:gd name="T11" fmla="*/ 105 h 127"/>
                <a:gd name="T12" fmla="*/ 89 w 131"/>
                <a:gd name="T13" fmla="*/ 92 h 127"/>
                <a:gd name="T14" fmla="*/ 89 w 131"/>
                <a:gd name="T15" fmla="*/ 92 h 127"/>
                <a:gd name="T16" fmla="*/ 95 w 131"/>
                <a:gd name="T17" fmla="*/ 98 h 127"/>
                <a:gd name="T18" fmla="*/ 95 w 131"/>
                <a:gd name="T19" fmla="*/ 98 h 127"/>
                <a:gd name="T20" fmla="*/ 125 w 131"/>
                <a:gd name="T21" fmla="*/ 126 h 127"/>
                <a:gd name="T22" fmla="*/ 127 w 131"/>
                <a:gd name="T23" fmla="*/ 127 h 127"/>
                <a:gd name="T24" fmla="*/ 131 w 131"/>
                <a:gd name="T25" fmla="*/ 124 h 127"/>
                <a:gd name="T26" fmla="*/ 130 w 131"/>
                <a:gd name="T27" fmla="*/ 122 h 127"/>
                <a:gd name="T28" fmla="*/ 94 w 131"/>
                <a:gd name="T29" fmla="*/ 87 h 127"/>
                <a:gd name="T30" fmla="*/ 54 w 131"/>
                <a:gd name="T31" fmla="*/ 98 h 127"/>
                <a:gd name="T32" fmla="*/ 7 w 131"/>
                <a:gd name="T33" fmla="*/ 52 h 127"/>
                <a:gd name="T34" fmla="*/ 54 w 131"/>
                <a:gd name="T35" fmla="*/ 6 h 127"/>
                <a:gd name="T36" fmla="*/ 101 w 131"/>
                <a:gd name="T37" fmla="*/ 52 h 127"/>
                <a:gd name="T38" fmla="*/ 54 w 131"/>
                <a:gd name="T39" fmla="*/ 9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 h="127">
                  <a:moveTo>
                    <a:pt x="94" y="87"/>
                  </a:moveTo>
                  <a:cubicBezTo>
                    <a:pt x="94" y="87"/>
                    <a:pt x="94" y="87"/>
                    <a:pt x="94" y="87"/>
                  </a:cubicBezTo>
                  <a:cubicBezTo>
                    <a:pt x="103" y="77"/>
                    <a:pt x="107" y="65"/>
                    <a:pt x="107" y="52"/>
                  </a:cubicBezTo>
                  <a:cubicBezTo>
                    <a:pt x="107" y="23"/>
                    <a:pt x="83" y="0"/>
                    <a:pt x="54" y="0"/>
                  </a:cubicBezTo>
                  <a:cubicBezTo>
                    <a:pt x="24" y="0"/>
                    <a:pt x="0" y="23"/>
                    <a:pt x="0" y="52"/>
                  </a:cubicBezTo>
                  <a:cubicBezTo>
                    <a:pt x="0" y="81"/>
                    <a:pt x="24" y="105"/>
                    <a:pt x="54" y="105"/>
                  </a:cubicBezTo>
                  <a:cubicBezTo>
                    <a:pt x="67" y="105"/>
                    <a:pt x="79" y="100"/>
                    <a:pt x="89" y="92"/>
                  </a:cubicBezTo>
                  <a:cubicBezTo>
                    <a:pt x="89" y="92"/>
                    <a:pt x="89" y="92"/>
                    <a:pt x="89" y="92"/>
                  </a:cubicBezTo>
                  <a:cubicBezTo>
                    <a:pt x="95" y="98"/>
                    <a:pt x="95" y="98"/>
                    <a:pt x="95" y="98"/>
                  </a:cubicBezTo>
                  <a:cubicBezTo>
                    <a:pt x="95" y="98"/>
                    <a:pt x="95" y="98"/>
                    <a:pt x="95" y="98"/>
                  </a:cubicBezTo>
                  <a:cubicBezTo>
                    <a:pt x="125" y="126"/>
                    <a:pt x="125" y="126"/>
                    <a:pt x="125" y="126"/>
                  </a:cubicBezTo>
                  <a:cubicBezTo>
                    <a:pt x="126" y="127"/>
                    <a:pt x="126" y="127"/>
                    <a:pt x="127" y="127"/>
                  </a:cubicBezTo>
                  <a:cubicBezTo>
                    <a:pt x="129" y="127"/>
                    <a:pt x="131" y="126"/>
                    <a:pt x="131" y="124"/>
                  </a:cubicBezTo>
                  <a:cubicBezTo>
                    <a:pt x="131" y="123"/>
                    <a:pt x="130" y="122"/>
                    <a:pt x="130" y="122"/>
                  </a:cubicBezTo>
                  <a:lnTo>
                    <a:pt x="94" y="87"/>
                  </a:lnTo>
                  <a:close/>
                  <a:moveTo>
                    <a:pt x="54" y="98"/>
                  </a:moveTo>
                  <a:cubicBezTo>
                    <a:pt x="28" y="98"/>
                    <a:pt x="7" y="77"/>
                    <a:pt x="7" y="52"/>
                  </a:cubicBezTo>
                  <a:cubicBezTo>
                    <a:pt x="7" y="27"/>
                    <a:pt x="28" y="6"/>
                    <a:pt x="54" y="6"/>
                  </a:cubicBezTo>
                  <a:cubicBezTo>
                    <a:pt x="80" y="6"/>
                    <a:pt x="101" y="27"/>
                    <a:pt x="101" y="52"/>
                  </a:cubicBezTo>
                  <a:cubicBezTo>
                    <a:pt x="101" y="77"/>
                    <a:pt x="80" y="98"/>
                    <a:pt x="54"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a:p>
          </p:txBody>
        </p:sp>
        <p:sp>
          <p:nvSpPr>
            <p:cNvPr id="38" name="Freeform 48">
              <a:extLst>
                <a:ext uri="{FF2B5EF4-FFF2-40B4-BE49-F238E27FC236}">
                  <a16:creationId xmlns:a16="http://schemas.microsoft.com/office/drawing/2014/main" id="{ED894B50-C744-8323-8AB2-8C1FDEAF7894}"/>
                </a:ext>
              </a:extLst>
            </p:cNvPr>
            <p:cNvSpPr>
              <a:spLocks/>
            </p:cNvSpPr>
            <p:nvPr/>
          </p:nvSpPr>
          <p:spPr bwMode="auto">
            <a:xfrm>
              <a:off x="6143086" y="2136527"/>
              <a:ext cx="539750" cy="431800"/>
            </a:xfrm>
            <a:custGeom>
              <a:avLst/>
              <a:gdLst>
                <a:gd name="T0" fmla="*/ 154 w 169"/>
                <a:gd name="T1" fmla="*/ 15 h 135"/>
                <a:gd name="T2" fmla="*/ 84 w 169"/>
                <a:gd name="T3" fmla="*/ 15 h 135"/>
                <a:gd name="T4" fmla="*/ 68 w 169"/>
                <a:gd name="T5" fmla="*/ 7 h 135"/>
                <a:gd name="T6" fmla="*/ 53 w 169"/>
                <a:gd name="T7" fmla="*/ 0 h 135"/>
                <a:gd name="T8" fmla="*/ 15 w 169"/>
                <a:gd name="T9" fmla="*/ 0 h 135"/>
                <a:gd name="T10" fmla="*/ 0 w 169"/>
                <a:gd name="T11" fmla="*/ 14 h 135"/>
                <a:gd name="T12" fmla="*/ 0 w 169"/>
                <a:gd name="T13" fmla="*/ 120 h 135"/>
                <a:gd name="T14" fmla="*/ 15 w 169"/>
                <a:gd name="T15" fmla="*/ 135 h 135"/>
                <a:gd name="T16" fmla="*/ 50 w 169"/>
                <a:gd name="T17" fmla="*/ 135 h 135"/>
                <a:gd name="T18" fmla="*/ 43 w 169"/>
                <a:gd name="T19" fmla="*/ 129 h 135"/>
                <a:gd name="T20" fmla="*/ 15 w 169"/>
                <a:gd name="T21" fmla="*/ 129 h 135"/>
                <a:gd name="T22" fmla="*/ 6 w 169"/>
                <a:gd name="T23" fmla="*/ 120 h 135"/>
                <a:gd name="T24" fmla="*/ 6 w 169"/>
                <a:gd name="T25" fmla="*/ 44 h 135"/>
                <a:gd name="T26" fmla="*/ 51 w 169"/>
                <a:gd name="T27" fmla="*/ 44 h 135"/>
                <a:gd name="T28" fmla="*/ 60 w 169"/>
                <a:gd name="T29" fmla="*/ 38 h 135"/>
                <a:gd name="T30" fmla="*/ 6 w 169"/>
                <a:gd name="T31" fmla="*/ 38 h 135"/>
                <a:gd name="T32" fmla="*/ 6 w 169"/>
                <a:gd name="T33" fmla="*/ 14 h 135"/>
                <a:gd name="T34" fmla="*/ 15 w 169"/>
                <a:gd name="T35" fmla="*/ 6 h 135"/>
                <a:gd name="T36" fmla="*/ 53 w 169"/>
                <a:gd name="T37" fmla="*/ 6 h 135"/>
                <a:gd name="T38" fmla="*/ 65 w 169"/>
                <a:gd name="T39" fmla="*/ 13 h 135"/>
                <a:gd name="T40" fmla="*/ 84 w 169"/>
                <a:gd name="T41" fmla="*/ 21 h 135"/>
                <a:gd name="T42" fmla="*/ 154 w 169"/>
                <a:gd name="T43" fmla="*/ 21 h 135"/>
                <a:gd name="T44" fmla="*/ 162 w 169"/>
                <a:gd name="T45" fmla="*/ 30 h 135"/>
                <a:gd name="T46" fmla="*/ 162 w 169"/>
                <a:gd name="T47" fmla="*/ 38 h 135"/>
                <a:gd name="T48" fmla="*/ 124 w 169"/>
                <a:gd name="T49" fmla="*/ 38 h 135"/>
                <a:gd name="T50" fmla="*/ 133 w 169"/>
                <a:gd name="T51" fmla="*/ 44 h 135"/>
                <a:gd name="T52" fmla="*/ 162 w 169"/>
                <a:gd name="T53" fmla="*/ 44 h 135"/>
                <a:gd name="T54" fmla="*/ 162 w 169"/>
                <a:gd name="T55" fmla="*/ 120 h 135"/>
                <a:gd name="T56" fmla="*/ 154 w 169"/>
                <a:gd name="T57" fmla="*/ 129 h 135"/>
                <a:gd name="T58" fmla="*/ 148 w 169"/>
                <a:gd name="T59" fmla="*/ 129 h 135"/>
                <a:gd name="T60" fmla="*/ 155 w 169"/>
                <a:gd name="T61" fmla="*/ 135 h 135"/>
                <a:gd name="T62" fmla="*/ 169 w 169"/>
                <a:gd name="T63" fmla="*/ 120 h 135"/>
                <a:gd name="T64" fmla="*/ 169 w 169"/>
                <a:gd name="T65" fmla="*/ 30 h 135"/>
                <a:gd name="T66" fmla="*/ 154 w 169"/>
                <a:gd name="T67" fmla="*/ 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9" h="135">
                  <a:moveTo>
                    <a:pt x="154" y="15"/>
                  </a:moveTo>
                  <a:cubicBezTo>
                    <a:pt x="84" y="15"/>
                    <a:pt x="84" y="15"/>
                    <a:pt x="84" y="15"/>
                  </a:cubicBezTo>
                  <a:cubicBezTo>
                    <a:pt x="76" y="15"/>
                    <a:pt x="72" y="11"/>
                    <a:pt x="68" y="7"/>
                  </a:cubicBezTo>
                  <a:cubicBezTo>
                    <a:pt x="64" y="3"/>
                    <a:pt x="61" y="0"/>
                    <a:pt x="53" y="0"/>
                  </a:cubicBezTo>
                  <a:cubicBezTo>
                    <a:pt x="15" y="0"/>
                    <a:pt x="15" y="0"/>
                    <a:pt x="15" y="0"/>
                  </a:cubicBezTo>
                  <a:cubicBezTo>
                    <a:pt x="6" y="0"/>
                    <a:pt x="0" y="6"/>
                    <a:pt x="0" y="14"/>
                  </a:cubicBezTo>
                  <a:cubicBezTo>
                    <a:pt x="0" y="120"/>
                    <a:pt x="0" y="120"/>
                    <a:pt x="0" y="120"/>
                  </a:cubicBezTo>
                  <a:cubicBezTo>
                    <a:pt x="0" y="129"/>
                    <a:pt x="6" y="135"/>
                    <a:pt x="15" y="135"/>
                  </a:cubicBezTo>
                  <a:cubicBezTo>
                    <a:pt x="50" y="135"/>
                    <a:pt x="50" y="135"/>
                    <a:pt x="50" y="135"/>
                  </a:cubicBezTo>
                  <a:cubicBezTo>
                    <a:pt x="47" y="133"/>
                    <a:pt x="45" y="131"/>
                    <a:pt x="43" y="129"/>
                  </a:cubicBezTo>
                  <a:cubicBezTo>
                    <a:pt x="15" y="129"/>
                    <a:pt x="15" y="129"/>
                    <a:pt x="15" y="129"/>
                  </a:cubicBezTo>
                  <a:cubicBezTo>
                    <a:pt x="10" y="129"/>
                    <a:pt x="6" y="125"/>
                    <a:pt x="6" y="120"/>
                  </a:cubicBezTo>
                  <a:cubicBezTo>
                    <a:pt x="6" y="44"/>
                    <a:pt x="6" y="44"/>
                    <a:pt x="6" y="44"/>
                  </a:cubicBezTo>
                  <a:cubicBezTo>
                    <a:pt x="51" y="44"/>
                    <a:pt x="51" y="44"/>
                    <a:pt x="51" y="44"/>
                  </a:cubicBezTo>
                  <a:cubicBezTo>
                    <a:pt x="54" y="42"/>
                    <a:pt x="57" y="39"/>
                    <a:pt x="60" y="38"/>
                  </a:cubicBezTo>
                  <a:cubicBezTo>
                    <a:pt x="6" y="38"/>
                    <a:pt x="6" y="38"/>
                    <a:pt x="6" y="38"/>
                  </a:cubicBezTo>
                  <a:cubicBezTo>
                    <a:pt x="6" y="14"/>
                    <a:pt x="6" y="14"/>
                    <a:pt x="6" y="14"/>
                  </a:cubicBezTo>
                  <a:cubicBezTo>
                    <a:pt x="6" y="10"/>
                    <a:pt x="10" y="6"/>
                    <a:pt x="15" y="6"/>
                  </a:cubicBezTo>
                  <a:cubicBezTo>
                    <a:pt x="53" y="6"/>
                    <a:pt x="53" y="6"/>
                    <a:pt x="53" y="6"/>
                  </a:cubicBezTo>
                  <a:cubicBezTo>
                    <a:pt x="58" y="6"/>
                    <a:pt x="61" y="9"/>
                    <a:pt x="65" y="13"/>
                  </a:cubicBezTo>
                  <a:cubicBezTo>
                    <a:pt x="69" y="17"/>
                    <a:pt x="73" y="21"/>
                    <a:pt x="84" y="21"/>
                  </a:cubicBezTo>
                  <a:cubicBezTo>
                    <a:pt x="154" y="21"/>
                    <a:pt x="154" y="21"/>
                    <a:pt x="154" y="21"/>
                  </a:cubicBezTo>
                  <a:cubicBezTo>
                    <a:pt x="158" y="21"/>
                    <a:pt x="162" y="25"/>
                    <a:pt x="162" y="30"/>
                  </a:cubicBezTo>
                  <a:cubicBezTo>
                    <a:pt x="162" y="38"/>
                    <a:pt x="162" y="38"/>
                    <a:pt x="162" y="38"/>
                  </a:cubicBezTo>
                  <a:cubicBezTo>
                    <a:pt x="124" y="38"/>
                    <a:pt x="124" y="38"/>
                    <a:pt x="124" y="38"/>
                  </a:cubicBezTo>
                  <a:cubicBezTo>
                    <a:pt x="127" y="39"/>
                    <a:pt x="130" y="42"/>
                    <a:pt x="133" y="44"/>
                  </a:cubicBezTo>
                  <a:cubicBezTo>
                    <a:pt x="162" y="44"/>
                    <a:pt x="162" y="44"/>
                    <a:pt x="162" y="44"/>
                  </a:cubicBezTo>
                  <a:cubicBezTo>
                    <a:pt x="162" y="120"/>
                    <a:pt x="162" y="120"/>
                    <a:pt x="162" y="120"/>
                  </a:cubicBezTo>
                  <a:cubicBezTo>
                    <a:pt x="162" y="125"/>
                    <a:pt x="158" y="129"/>
                    <a:pt x="154" y="129"/>
                  </a:cubicBezTo>
                  <a:cubicBezTo>
                    <a:pt x="148" y="129"/>
                    <a:pt x="148" y="129"/>
                    <a:pt x="148" y="129"/>
                  </a:cubicBezTo>
                  <a:cubicBezTo>
                    <a:pt x="155" y="135"/>
                    <a:pt x="155" y="135"/>
                    <a:pt x="155" y="135"/>
                  </a:cubicBezTo>
                  <a:cubicBezTo>
                    <a:pt x="162" y="135"/>
                    <a:pt x="169" y="128"/>
                    <a:pt x="169" y="120"/>
                  </a:cubicBezTo>
                  <a:cubicBezTo>
                    <a:pt x="169" y="30"/>
                    <a:pt x="169" y="30"/>
                    <a:pt x="169" y="30"/>
                  </a:cubicBezTo>
                  <a:cubicBezTo>
                    <a:pt x="169" y="21"/>
                    <a:pt x="162" y="15"/>
                    <a:pt x="15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a:p>
          </p:txBody>
        </p:sp>
      </p:grpSp>
      <p:sp>
        <p:nvSpPr>
          <p:cNvPr id="45" name="Rectangle 44">
            <a:extLst>
              <a:ext uri="{FF2B5EF4-FFF2-40B4-BE49-F238E27FC236}">
                <a16:creationId xmlns:a16="http://schemas.microsoft.com/office/drawing/2014/main" id="{47048286-AD81-DDD8-D2AA-100E287CDACB}"/>
              </a:ext>
            </a:extLst>
          </p:cNvPr>
          <p:cNvSpPr/>
          <p:nvPr/>
        </p:nvSpPr>
        <p:spPr>
          <a:xfrm>
            <a:off x="3492400" y="2402173"/>
            <a:ext cx="2897666" cy="2360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72000" rIns="90000" bIns="54000" rtlCol="0" anchor="t">
            <a:noAutofit/>
          </a:bodyPr>
          <a:lstStyle/>
          <a:p>
            <a:pPr>
              <a:spcAft>
                <a:spcPts val="600"/>
              </a:spcAft>
            </a:pPr>
            <a:r>
              <a:rPr lang="en-AU" sz="1050" b="1" dirty="0">
                <a:solidFill>
                  <a:schemeClr val="tx2"/>
                </a:solidFill>
              </a:rPr>
              <a:t>Definition: </a:t>
            </a:r>
            <a:r>
              <a:rPr lang="en-AU" sz="1050" dirty="0">
                <a:solidFill>
                  <a:schemeClr val="tx2"/>
                </a:solidFill>
              </a:rPr>
              <a:t>proactive inspections for a known cohort of regulated entities. These inspections may have a more general focus and will often be conducted at set intervals/milestones. </a:t>
            </a:r>
          </a:p>
          <a:p>
            <a:pPr>
              <a:spcAft>
                <a:spcPts val="600"/>
              </a:spcAft>
            </a:pPr>
            <a:r>
              <a:rPr lang="en-AU" sz="1050" b="1" dirty="0">
                <a:solidFill>
                  <a:schemeClr val="tx2"/>
                </a:solidFill>
                <a:ea typeface="+mn-lt"/>
                <a:cs typeface="+mn-lt"/>
              </a:rPr>
              <a:t>Maintenance</a:t>
            </a:r>
            <a:r>
              <a:rPr lang="en-AU" sz="1050" dirty="0">
                <a:solidFill>
                  <a:schemeClr val="tx2"/>
                </a:solidFill>
                <a:ea typeface="+mn-lt"/>
                <a:cs typeface="+mn-lt"/>
              </a:rPr>
              <a:t> inspections might be triggered by milestones as part of an agreed program, process or routine of inspections, (e.g., a schedule that entities under a certain licence will be inspected at regular intervals, or to confirm non-compliance has been resolved following previous remedial action).</a:t>
            </a:r>
            <a:endParaRPr lang="en-AU" sz="1050" dirty="0">
              <a:solidFill>
                <a:schemeClr val="tx2"/>
              </a:solidFill>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AU" sz="1050" dirty="0">
              <a:solidFill>
                <a:schemeClr val="tx2"/>
              </a:solidFill>
            </a:endParaRPr>
          </a:p>
        </p:txBody>
      </p:sp>
      <p:sp>
        <p:nvSpPr>
          <p:cNvPr id="48" name="Rectangle 47">
            <a:extLst>
              <a:ext uri="{FF2B5EF4-FFF2-40B4-BE49-F238E27FC236}">
                <a16:creationId xmlns:a16="http://schemas.microsoft.com/office/drawing/2014/main" id="{9C23D14E-F3B0-90AA-AE27-394933390466}"/>
              </a:ext>
            </a:extLst>
          </p:cNvPr>
          <p:cNvSpPr/>
          <p:nvPr/>
        </p:nvSpPr>
        <p:spPr>
          <a:xfrm>
            <a:off x="3873712" y="1773283"/>
            <a:ext cx="2516354" cy="5588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p>
            <a:r>
              <a:rPr lang="en-AU" sz="1050" dirty="0">
                <a:solidFill>
                  <a:schemeClr val="tx2"/>
                </a:solidFill>
                <a:latin typeface="VIC SemiBold" panose="00000700000000000000" pitchFamily="50" charset="0"/>
              </a:rPr>
              <a:t>MAINTENANCE INSPECTION</a:t>
            </a:r>
          </a:p>
        </p:txBody>
      </p:sp>
      <p:cxnSp>
        <p:nvCxnSpPr>
          <p:cNvPr id="56" name="Straight Connector 55">
            <a:extLst>
              <a:ext uri="{FF2B5EF4-FFF2-40B4-BE49-F238E27FC236}">
                <a16:creationId xmlns:a16="http://schemas.microsoft.com/office/drawing/2014/main" id="{ECCE297F-DB78-B2A2-3AD0-ADF43083D6B1}"/>
              </a:ext>
            </a:extLst>
          </p:cNvPr>
          <p:cNvCxnSpPr>
            <a:cxnSpLocks/>
          </p:cNvCxnSpPr>
          <p:nvPr/>
        </p:nvCxnSpPr>
        <p:spPr>
          <a:xfrm flipV="1">
            <a:off x="3492399" y="2407126"/>
            <a:ext cx="2897667" cy="4953"/>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Content Placeholder 1">
            <a:extLst>
              <a:ext uri="{FF2B5EF4-FFF2-40B4-BE49-F238E27FC236}">
                <a16:creationId xmlns:a16="http://schemas.microsoft.com/office/drawing/2014/main" id="{02BB176B-8255-2661-B555-82EC2B34FEEA}"/>
              </a:ext>
            </a:extLst>
          </p:cNvPr>
          <p:cNvSpPr txBox="1">
            <a:spLocks/>
          </p:cNvSpPr>
          <p:nvPr/>
        </p:nvSpPr>
        <p:spPr>
          <a:xfrm>
            <a:off x="539997" y="4845202"/>
            <a:ext cx="8820000" cy="603273"/>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400"/>
              </a:spcAft>
              <a:buClr>
                <a:schemeClr val="tx2"/>
              </a:buClr>
              <a:buFont typeface="Arial" panose="020B0604020202020204" pitchFamily="34" charset="0"/>
              <a:buNone/>
            </a:pPr>
            <a:r>
              <a:rPr lang="en-AU" b="1" dirty="0">
                <a:latin typeface="VIC SemiBold"/>
                <a:cs typeface="Segoe UI"/>
              </a:rPr>
              <a:t>Responsive inspections </a:t>
            </a:r>
            <a:r>
              <a:rPr lang="en-AU" b="1" dirty="0">
                <a:latin typeface="+mj-lt"/>
                <a:cs typeface="Segoe UI"/>
              </a:rPr>
              <a:t>require a clear rationale, outcome sought and alignment to your regulatory powers and tools. </a:t>
            </a:r>
            <a:endParaRPr lang="en-AU" b="1" dirty="0">
              <a:cs typeface="Segoe UI"/>
            </a:endParaRPr>
          </a:p>
        </p:txBody>
      </p:sp>
      <p:sp>
        <p:nvSpPr>
          <p:cNvPr id="39" name="Rectangle 38">
            <a:extLst>
              <a:ext uri="{FF2B5EF4-FFF2-40B4-BE49-F238E27FC236}">
                <a16:creationId xmlns:a16="http://schemas.microsoft.com/office/drawing/2014/main" id="{53DF164F-9FF2-43BB-1907-0AC45794D31D}"/>
              </a:ext>
            </a:extLst>
          </p:cNvPr>
          <p:cNvSpPr/>
          <p:nvPr/>
        </p:nvSpPr>
        <p:spPr>
          <a:xfrm>
            <a:off x="539997" y="5502550"/>
            <a:ext cx="2520000" cy="580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ctr"/>
          <a:lstStyle/>
          <a:p>
            <a:pPr marL="0" marR="0" lvl="0" indent="0" algn="ctr" defTabSz="914349" rtl="0" eaLnBrk="1" fontAlgn="auto" latinLnBrk="0" hangingPunct="1">
              <a:lnSpc>
                <a:spcPct val="100000"/>
              </a:lnSpc>
              <a:spcBef>
                <a:spcPts val="0"/>
              </a:spcBef>
              <a:spcAft>
                <a:spcPts val="400"/>
              </a:spcAft>
              <a:buClrTx/>
              <a:buSzTx/>
              <a:buFontTx/>
              <a:buNone/>
              <a:tabLst/>
              <a:defRPr/>
            </a:pPr>
            <a:r>
              <a:rPr lang="en-US" sz="1100" dirty="0">
                <a:solidFill>
                  <a:schemeClr val="tx2"/>
                </a:solidFill>
                <a:latin typeface="+mj-lt"/>
                <a:cs typeface="Segoe UI" panose="020B0502040204020203" pitchFamily="34" charset="0"/>
              </a:rPr>
              <a:t>There is a clear reason for an inspection that justifies the resources required </a:t>
            </a:r>
            <a:endParaRPr kumimoji="0" lang="en-AU" sz="1100" b="0" i="0" u="none" strike="noStrike" kern="1200" cap="none" spc="0" normalizeH="0" baseline="0" noProof="0" dirty="0">
              <a:ln>
                <a:noFill/>
              </a:ln>
              <a:solidFill>
                <a:schemeClr val="tx2"/>
              </a:solidFill>
              <a:effectLst/>
              <a:uLnTx/>
              <a:uFillTx/>
              <a:latin typeface="+mj-lt"/>
              <a:ea typeface="+mn-ea"/>
              <a:cs typeface="Segoe UI" panose="020B0502040204020203" pitchFamily="34" charset="0"/>
            </a:endParaRPr>
          </a:p>
        </p:txBody>
      </p:sp>
      <p:sp>
        <p:nvSpPr>
          <p:cNvPr id="40" name="Text Placeholder 26">
            <a:extLst>
              <a:ext uri="{FF2B5EF4-FFF2-40B4-BE49-F238E27FC236}">
                <a16:creationId xmlns:a16="http://schemas.microsoft.com/office/drawing/2014/main" id="{F5161DDF-2327-DB0F-6B5E-BC54A9FDAD4D}"/>
              </a:ext>
            </a:extLst>
          </p:cNvPr>
          <p:cNvSpPr txBox="1">
            <a:spLocks/>
          </p:cNvSpPr>
          <p:nvPr/>
        </p:nvSpPr>
        <p:spPr>
          <a:xfrm>
            <a:off x="539997" y="5199182"/>
            <a:ext cx="2520000" cy="303367"/>
          </a:xfrm>
          <a:prstGeom prst="rect">
            <a:avLst/>
          </a:prstGeom>
          <a:solidFill>
            <a:schemeClr val="accent2"/>
          </a:solidFill>
          <a:ln w="19050">
            <a:noFill/>
          </a:ln>
        </p:spPr>
        <p:txBody>
          <a:bodyPr wrap="square" lIns="144000" tIns="36000" rIns="144000" bIns="36000" anchor="ctr">
            <a:noAutofit/>
          </a:bodyPr>
          <a:lstStyle>
            <a:lvl1pPr marL="0" indent="0" algn="ctr" defTabSz="914349" rtl="0" eaLnBrk="1" latinLnBrk="0" hangingPunct="1">
              <a:spcBef>
                <a:spcPts val="1200"/>
              </a:spcBef>
              <a:buFont typeface="Arial" pitchFamily="34" charset="0"/>
              <a:buNone/>
              <a:defRPr sz="1400" kern="1200" spc="0">
                <a:solidFill>
                  <a:schemeClr val="accent2"/>
                </a:solidFill>
                <a:latin typeface="Segoe UI Semibold" panose="020B07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04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828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116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100" dirty="0">
                <a:solidFill>
                  <a:schemeClr val="bg1"/>
                </a:solidFill>
                <a:latin typeface="VIC SemiBold" panose="00000700000000000000" pitchFamily="50" charset="0"/>
              </a:rPr>
              <a:t>RATIONALE</a:t>
            </a:r>
          </a:p>
        </p:txBody>
      </p:sp>
      <p:sp>
        <p:nvSpPr>
          <p:cNvPr id="35" name="Rectangle 34">
            <a:extLst>
              <a:ext uri="{FF2B5EF4-FFF2-40B4-BE49-F238E27FC236}">
                <a16:creationId xmlns:a16="http://schemas.microsoft.com/office/drawing/2014/main" id="{34C42425-7561-62F5-0716-834129C55E35}"/>
              </a:ext>
            </a:extLst>
          </p:cNvPr>
          <p:cNvSpPr/>
          <p:nvPr/>
        </p:nvSpPr>
        <p:spPr>
          <a:xfrm>
            <a:off x="3689997" y="5502549"/>
            <a:ext cx="2520000" cy="6032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ctr"/>
          <a:lstStyle/>
          <a:p>
            <a:pPr marL="0" marR="0" lvl="0" indent="0" algn="ctr" defTabSz="914349" rtl="0" eaLnBrk="1" fontAlgn="auto" latinLnBrk="0" hangingPunct="1">
              <a:lnSpc>
                <a:spcPct val="100000"/>
              </a:lnSpc>
              <a:spcBef>
                <a:spcPts val="0"/>
              </a:spcBef>
              <a:spcAft>
                <a:spcPts val="400"/>
              </a:spcAft>
              <a:buClrTx/>
              <a:buSzTx/>
              <a:buFontTx/>
              <a:buNone/>
              <a:tabLst/>
              <a:defRPr/>
            </a:pPr>
            <a:r>
              <a:rPr lang="en-US" sz="1100" dirty="0">
                <a:solidFill>
                  <a:schemeClr val="tx2"/>
                </a:solidFill>
                <a:latin typeface="+mj-lt"/>
                <a:cs typeface="Segoe UI" panose="020B0502040204020203" pitchFamily="34" charset="0"/>
              </a:rPr>
              <a:t>There is a clear objective or outcome sought from attendance</a:t>
            </a:r>
            <a:endParaRPr kumimoji="0" lang="en-AU" sz="1100" b="0" i="0" u="none" strike="noStrike" kern="1200" cap="none" spc="0" normalizeH="0" baseline="0" noProof="0" dirty="0">
              <a:ln>
                <a:noFill/>
              </a:ln>
              <a:solidFill>
                <a:schemeClr val="tx2"/>
              </a:solidFill>
              <a:effectLst/>
              <a:uLnTx/>
              <a:uFillTx/>
              <a:latin typeface="+mj-lt"/>
              <a:ea typeface="+mn-ea"/>
              <a:cs typeface="Segoe UI" panose="020B0502040204020203" pitchFamily="34" charset="0"/>
            </a:endParaRPr>
          </a:p>
        </p:txBody>
      </p:sp>
      <p:sp>
        <p:nvSpPr>
          <p:cNvPr id="36" name="Text Placeholder 26">
            <a:extLst>
              <a:ext uri="{FF2B5EF4-FFF2-40B4-BE49-F238E27FC236}">
                <a16:creationId xmlns:a16="http://schemas.microsoft.com/office/drawing/2014/main" id="{4906031E-3D1A-1C9A-2C0C-A1D53A045590}"/>
              </a:ext>
            </a:extLst>
          </p:cNvPr>
          <p:cNvSpPr txBox="1">
            <a:spLocks/>
          </p:cNvSpPr>
          <p:nvPr/>
        </p:nvSpPr>
        <p:spPr>
          <a:xfrm>
            <a:off x="3689997" y="5199182"/>
            <a:ext cx="2520000" cy="303367"/>
          </a:xfrm>
          <a:prstGeom prst="rect">
            <a:avLst/>
          </a:prstGeom>
          <a:solidFill>
            <a:schemeClr val="accent3"/>
          </a:solidFill>
          <a:ln w="19050">
            <a:noFill/>
          </a:ln>
        </p:spPr>
        <p:txBody>
          <a:bodyPr wrap="square" lIns="144000" tIns="36000" rIns="144000" bIns="36000" anchor="ctr">
            <a:noAutofit/>
          </a:bodyPr>
          <a:lstStyle>
            <a:lvl1pPr marL="0" indent="0" algn="ctr" defTabSz="914349" rtl="0" eaLnBrk="1" latinLnBrk="0" hangingPunct="1">
              <a:spcBef>
                <a:spcPts val="1200"/>
              </a:spcBef>
              <a:buFont typeface="Arial" pitchFamily="34" charset="0"/>
              <a:buNone/>
              <a:defRPr sz="1400" kern="1200" spc="0">
                <a:solidFill>
                  <a:schemeClr val="accent2"/>
                </a:solidFill>
                <a:latin typeface="Segoe UI Semibold" panose="020B07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04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828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116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100" dirty="0">
                <a:solidFill>
                  <a:schemeClr val="bg1"/>
                </a:solidFill>
                <a:latin typeface="VIC SemiBold" panose="00000700000000000000" pitchFamily="50" charset="0"/>
              </a:rPr>
              <a:t>OUTCOME SOUGHT</a:t>
            </a:r>
          </a:p>
        </p:txBody>
      </p:sp>
      <p:sp>
        <p:nvSpPr>
          <p:cNvPr id="32" name="Rectangle 31">
            <a:extLst>
              <a:ext uri="{FF2B5EF4-FFF2-40B4-BE49-F238E27FC236}">
                <a16:creationId xmlns:a16="http://schemas.microsoft.com/office/drawing/2014/main" id="{89A7D073-8D92-326D-B42E-0A25872A81E6}"/>
              </a:ext>
            </a:extLst>
          </p:cNvPr>
          <p:cNvSpPr/>
          <p:nvPr/>
        </p:nvSpPr>
        <p:spPr>
          <a:xfrm>
            <a:off x="6839997" y="5502550"/>
            <a:ext cx="2520000" cy="598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ctr"/>
          <a:lstStyle/>
          <a:p>
            <a:pPr marL="0" marR="0" lvl="0" indent="0" algn="ctr" defTabSz="914349" rtl="0" eaLnBrk="1" fontAlgn="auto" latinLnBrk="0" hangingPunct="1">
              <a:lnSpc>
                <a:spcPct val="100000"/>
              </a:lnSpc>
              <a:spcBef>
                <a:spcPts val="0"/>
              </a:spcBef>
              <a:spcAft>
                <a:spcPts val="400"/>
              </a:spcAft>
              <a:buClrTx/>
              <a:buSzTx/>
              <a:buFontTx/>
              <a:buNone/>
              <a:tabLst/>
              <a:defRPr/>
            </a:pPr>
            <a:r>
              <a:rPr kumimoji="0" lang="en-AU" sz="1100" b="0" i="0" u="none" strike="noStrike" kern="1200" cap="none" spc="0" normalizeH="0" baseline="0" noProof="0" dirty="0">
                <a:ln>
                  <a:noFill/>
                </a:ln>
                <a:solidFill>
                  <a:schemeClr val="tx2"/>
                </a:solidFill>
                <a:effectLst/>
                <a:uLnTx/>
                <a:uFillTx/>
                <a:latin typeface="+mj-lt"/>
                <a:ea typeface="+mn-ea"/>
                <a:cs typeface="Segoe UI" panose="020B0502040204020203" pitchFamily="34" charset="0"/>
              </a:rPr>
              <a:t>The regulator has the appropriate powers and tools to realise the objective</a:t>
            </a:r>
          </a:p>
        </p:txBody>
      </p:sp>
      <p:sp>
        <p:nvSpPr>
          <p:cNvPr id="34" name="Text Placeholder 26">
            <a:extLst>
              <a:ext uri="{FF2B5EF4-FFF2-40B4-BE49-F238E27FC236}">
                <a16:creationId xmlns:a16="http://schemas.microsoft.com/office/drawing/2014/main" id="{4922F213-5653-C8BF-860E-6953E15025E5}"/>
              </a:ext>
            </a:extLst>
          </p:cNvPr>
          <p:cNvSpPr txBox="1">
            <a:spLocks/>
          </p:cNvSpPr>
          <p:nvPr/>
        </p:nvSpPr>
        <p:spPr>
          <a:xfrm>
            <a:off x="6839997" y="5199182"/>
            <a:ext cx="2520000" cy="303367"/>
          </a:xfrm>
          <a:prstGeom prst="rect">
            <a:avLst/>
          </a:prstGeom>
          <a:solidFill>
            <a:schemeClr val="accent5">
              <a:lumMod val="75000"/>
            </a:schemeClr>
          </a:solidFill>
          <a:ln w="19050">
            <a:noFill/>
          </a:ln>
        </p:spPr>
        <p:txBody>
          <a:bodyPr wrap="square" lIns="144000" tIns="36000" rIns="144000" bIns="36000" anchor="ctr">
            <a:noAutofit/>
          </a:bodyPr>
          <a:lstStyle>
            <a:lvl1pPr marL="0" indent="0" algn="ctr" defTabSz="914349" rtl="0" eaLnBrk="1" latinLnBrk="0" hangingPunct="1">
              <a:spcBef>
                <a:spcPts val="1200"/>
              </a:spcBef>
              <a:buFont typeface="Arial" pitchFamily="34" charset="0"/>
              <a:buNone/>
              <a:defRPr sz="1400" kern="1200" spc="0">
                <a:solidFill>
                  <a:schemeClr val="accent2"/>
                </a:solidFill>
                <a:latin typeface="Segoe UI Semibold" panose="020B07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04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828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116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100" dirty="0">
                <a:solidFill>
                  <a:schemeClr val="bg1"/>
                </a:solidFill>
                <a:latin typeface="VIC SemiBold" panose="00000700000000000000" pitchFamily="50" charset="0"/>
              </a:rPr>
              <a:t>POWERS AND TOOLS</a:t>
            </a:r>
          </a:p>
        </p:txBody>
      </p:sp>
    </p:spTree>
    <p:extLst>
      <p:ext uri="{BB962C8B-B14F-4D97-AF65-F5344CB8AC3E}">
        <p14:creationId xmlns:p14="http://schemas.microsoft.com/office/powerpoint/2010/main" val="8255036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CEE8F0D-271D-A3F4-ABA4-55804FF8C507}"/>
              </a:ext>
            </a:extLst>
          </p:cNvPr>
          <p:cNvGraphicFramePr>
            <a:graphicFrameLocks noChangeAspect="1"/>
          </p:cNvGraphicFramePr>
          <p:nvPr>
            <p:custDataLst>
              <p:tags r:id="rId1"/>
            </p:custDataLst>
            <p:extLst>
              <p:ext uri="{D42A27DB-BD31-4B8C-83A1-F6EECF244321}">
                <p14:modId xmlns:p14="http://schemas.microsoft.com/office/powerpoint/2010/main" val="3248149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DCEE8F0D-271D-A3F4-ABA4-55804FF8C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0A675F7-CAF4-83EC-53BD-56B259073B05}"/>
              </a:ext>
            </a:extLst>
          </p:cNvPr>
          <p:cNvSpPr>
            <a:spLocks noGrp="1"/>
          </p:cNvSpPr>
          <p:nvPr>
            <p:ph type="title"/>
          </p:nvPr>
        </p:nvSpPr>
        <p:spPr>
          <a:xfrm>
            <a:off x="539997" y="553634"/>
            <a:ext cx="8820000" cy="341618"/>
          </a:xfrm>
        </p:spPr>
        <p:txBody>
          <a:bodyPr vert="horz"/>
          <a:lstStyle/>
          <a:p>
            <a:r>
              <a:rPr lang="en-AU" dirty="0">
                <a:latin typeface="VIC SemiBold" panose="00000700000000000000" pitchFamily="2" charset="0"/>
              </a:rPr>
              <a:t>Rationale</a:t>
            </a:r>
            <a:r>
              <a:rPr lang="en-AU" dirty="0"/>
              <a:t> | Examine available information to determine whether an inspection is required</a:t>
            </a:r>
          </a:p>
        </p:txBody>
      </p:sp>
      <p:sp>
        <p:nvSpPr>
          <p:cNvPr id="6" name="Content Placeholder 1">
            <a:extLst>
              <a:ext uri="{FF2B5EF4-FFF2-40B4-BE49-F238E27FC236}">
                <a16:creationId xmlns:a16="http://schemas.microsoft.com/office/drawing/2014/main" id="{E1296918-AD6D-C9E2-9E46-991182C85F7C}"/>
              </a:ext>
            </a:extLst>
          </p:cNvPr>
          <p:cNvSpPr txBox="1">
            <a:spLocks/>
          </p:cNvSpPr>
          <p:nvPr/>
        </p:nvSpPr>
        <p:spPr>
          <a:xfrm>
            <a:off x="539999" y="1275641"/>
            <a:ext cx="8820000" cy="1029953"/>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400"/>
              </a:spcAft>
              <a:buClr>
                <a:schemeClr val="tx2"/>
              </a:buClr>
              <a:buFont typeface="Arial" panose="020B0604020202020204" pitchFamily="34" charset="0"/>
              <a:buNone/>
            </a:pPr>
            <a:r>
              <a:rPr lang="en-AU" dirty="0">
                <a:cs typeface="Segoe UI"/>
              </a:rPr>
              <a:t>The </a:t>
            </a:r>
            <a:r>
              <a:rPr lang="en-AU" dirty="0">
                <a:latin typeface="VIC SemiBold" panose="00000700000000000000" pitchFamily="50" charset="0"/>
                <a:cs typeface="Segoe UI"/>
              </a:rPr>
              <a:t>rationale</a:t>
            </a:r>
            <a:r>
              <a:rPr lang="en-AU" dirty="0">
                <a:cs typeface="Segoe UI"/>
              </a:rPr>
              <a:t> of a responsive inspection can be determined by viewing the available information in terms of </a:t>
            </a:r>
            <a:r>
              <a:rPr lang="en-AU" b="1" dirty="0">
                <a:latin typeface="VIC SemiBold" panose="00000700000000000000" pitchFamily="50" charset="0"/>
                <a:cs typeface="Segoe UI"/>
              </a:rPr>
              <a:t>conduct, entity and cohort</a:t>
            </a:r>
            <a:r>
              <a:rPr lang="en-AU" dirty="0">
                <a:cs typeface="Segoe UI"/>
              </a:rPr>
              <a:t>, in addition to any operational considerations. </a:t>
            </a:r>
            <a:r>
              <a:rPr lang="en-AU" dirty="0"/>
              <a:t>Consider whether each lens justifies an inspection in the aggregate; sometimes these may justify an inspection individually. </a:t>
            </a:r>
          </a:p>
          <a:p>
            <a:pPr marL="0" indent="0">
              <a:spcBef>
                <a:spcPts val="0"/>
              </a:spcBef>
              <a:spcAft>
                <a:spcPts val="400"/>
              </a:spcAft>
              <a:buClr>
                <a:schemeClr val="tx2"/>
              </a:buClr>
              <a:buFont typeface="Arial" panose="020B0604020202020204" pitchFamily="34" charset="0"/>
              <a:buNone/>
            </a:pPr>
            <a:r>
              <a:rPr lang="en-AU" dirty="0"/>
              <a:t>These lenses are defined below. Further examples of how each lens may justify an inspection are detailed in the following pages of this tool.</a:t>
            </a:r>
            <a:endParaRPr lang="en-AU" dirty="0">
              <a:cs typeface="Segoe UI"/>
            </a:endParaRPr>
          </a:p>
        </p:txBody>
      </p:sp>
      <p:sp>
        <p:nvSpPr>
          <p:cNvPr id="11" name="Rectangle 10">
            <a:extLst>
              <a:ext uri="{FF2B5EF4-FFF2-40B4-BE49-F238E27FC236}">
                <a16:creationId xmlns:a16="http://schemas.microsoft.com/office/drawing/2014/main" id="{6CF41761-726E-3351-A38D-9340058AC711}"/>
              </a:ext>
            </a:extLst>
          </p:cNvPr>
          <p:cNvSpPr/>
          <p:nvPr/>
        </p:nvSpPr>
        <p:spPr>
          <a:xfrm>
            <a:off x="539995" y="2428884"/>
            <a:ext cx="1299600" cy="604800"/>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54000" rtlCol="0" anchor="ctr"/>
          <a:lstStyle/>
          <a:p>
            <a:r>
              <a:rPr lang="en-AU" sz="1200" dirty="0">
                <a:solidFill>
                  <a:schemeClr val="bg1">
                    <a:lumMod val="95000"/>
                  </a:schemeClr>
                </a:solidFill>
                <a:latin typeface="VIC SemiBold" panose="00000700000000000000" pitchFamily="50" charset="0"/>
              </a:rPr>
              <a:t>Conduct</a:t>
            </a:r>
          </a:p>
        </p:txBody>
      </p:sp>
      <p:sp>
        <p:nvSpPr>
          <p:cNvPr id="12" name="Rectangle 11">
            <a:extLst>
              <a:ext uri="{FF2B5EF4-FFF2-40B4-BE49-F238E27FC236}">
                <a16:creationId xmlns:a16="http://schemas.microsoft.com/office/drawing/2014/main" id="{24639050-CE56-C459-53A2-599C88235F67}"/>
              </a:ext>
            </a:extLst>
          </p:cNvPr>
          <p:cNvSpPr/>
          <p:nvPr/>
        </p:nvSpPr>
        <p:spPr>
          <a:xfrm>
            <a:off x="1981200" y="2428884"/>
            <a:ext cx="7375176" cy="60480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chorCtr="0"/>
          <a:lstStyle/>
          <a:p>
            <a:pPr>
              <a:spcAft>
                <a:spcPts val="200"/>
              </a:spcAft>
            </a:pPr>
            <a:r>
              <a:rPr lang="en-AU" sz="1200" dirty="0">
                <a:solidFill>
                  <a:schemeClr val="tx2"/>
                </a:solidFill>
              </a:rPr>
              <a:t>A specific view on the indicated non-compliance as in the complaint or referral. This could include the consequence of non-compliance and whether an inspection is the best response. </a:t>
            </a:r>
          </a:p>
        </p:txBody>
      </p:sp>
      <p:sp>
        <p:nvSpPr>
          <p:cNvPr id="13" name="Rectangle 12">
            <a:extLst>
              <a:ext uri="{FF2B5EF4-FFF2-40B4-BE49-F238E27FC236}">
                <a16:creationId xmlns:a16="http://schemas.microsoft.com/office/drawing/2014/main" id="{E51DC93B-C8A4-40E9-8838-EC13777E3942}"/>
              </a:ext>
            </a:extLst>
          </p:cNvPr>
          <p:cNvSpPr/>
          <p:nvPr/>
        </p:nvSpPr>
        <p:spPr>
          <a:xfrm>
            <a:off x="530367" y="3132880"/>
            <a:ext cx="1299600" cy="604800"/>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54000" rtlCol="0" anchor="ctr"/>
          <a:lstStyle/>
          <a:p>
            <a:r>
              <a:rPr lang="en-AU" sz="1200" dirty="0">
                <a:solidFill>
                  <a:schemeClr val="bg1">
                    <a:lumMod val="95000"/>
                  </a:schemeClr>
                </a:solidFill>
                <a:latin typeface="VIC SemiBold" panose="00000700000000000000" pitchFamily="50" charset="0"/>
              </a:rPr>
              <a:t>Entity</a:t>
            </a:r>
          </a:p>
        </p:txBody>
      </p:sp>
      <p:sp>
        <p:nvSpPr>
          <p:cNvPr id="14" name="Rectangle 13">
            <a:extLst>
              <a:ext uri="{FF2B5EF4-FFF2-40B4-BE49-F238E27FC236}">
                <a16:creationId xmlns:a16="http://schemas.microsoft.com/office/drawing/2014/main" id="{9B16708E-AFF1-10B4-1025-62412E5FF1D4}"/>
              </a:ext>
            </a:extLst>
          </p:cNvPr>
          <p:cNvSpPr/>
          <p:nvPr/>
        </p:nvSpPr>
        <p:spPr>
          <a:xfrm>
            <a:off x="1990828" y="3132880"/>
            <a:ext cx="7375176" cy="60480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chorCtr="0"/>
          <a:lstStyle/>
          <a:p>
            <a:pPr>
              <a:spcAft>
                <a:spcPts val="200"/>
              </a:spcAft>
            </a:pPr>
            <a:r>
              <a:rPr lang="en-AU" sz="1200" dirty="0">
                <a:solidFill>
                  <a:schemeClr val="tx2"/>
                </a:solidFill>
              </a:rPr>
              <a:t>An ongoing view on the entity and their compliance history. This will consider whether the entity’s discipline and inspection history indicates a pattern of behaviour that should be inspected. </a:t>
            </a:r>
          </a:p>
        </p:txBody>
      </p:sp>
      <p:sp>
        <p:nvSpPr>
          <p:cNvPr id="15" name="Rectangle 14">
            <a:extLst>
              <a:ext uri="{FF2B5EF4-FFF2-40B4-BE49-F238E27FC236}">
                <a16:creationId xmlns:a16="http://schemas.microsoft.com/office/drawing/2014/main" id="{CB761251-332C-DCC3-0038-D9DBB3A6BE2F}"/>
              </a:ext>
            </a:extLst>
          </p:cNvPr>
          <p:cNvSpPr/>
          <p:nvPr/>
        </p:nvSpPr>
        <p:spPr>
          <a:xfrm>
            <a:off x="530367" y="3836875"/>
            <a:ext cx="1299600" cy="603272"/>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54000" rtlCol="0" anchor="ctr"/>
          <a:lstStyle/>
          <a:p>
            <a:r>
              <a:rPr lang="en-AU" sz="1200" dirty="0">
                <a:solidFill>
                  <a:schemeClr val="bg1">
                    <a:lumMod val="95000"/>
                  </a:schemeClr>
                </a:solidFill>
                <a:latin typeface="VIC SemiBold" panose="00000700000000000000" pitchFamily="50" charset="0"/>
              </a:rPr>
              <a:t>Cohort</a:t>
            </a:r>
          </a:p>
        </p:txBody>
      </p:sp>
      <p:sp>
        <p:nvSpPr>
          <p:cNvPr id="16" name="Rectangle 15">
            <a:extLst>
              <a:ext uri="{FF2B5EF4-FFF2-40B4-BE49-F238E27FC236}">
                <a16:creationId xmlns:a16="http://schemas.microsoft.com/office/drawing/2014/main" id="{A63029EC-539F-421E-11B9-C159749E0ADC}"/>
              </a:ext>
            </a:extLst>
          </p:cNvPr>
          <p:cNvSpPr/>
          <p:nvPr/>
        </p:nvSpPr>
        <p:spPr>
          <a:xfrm>
            <a:off x="1981200" y="3836875"/>
            <a:ext cx="7384804" cy="60327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chorCtr="0"/>
          <a:lstStyle/>
          <a:p>
            <a:pPr>
              <a:spcAft>
                <a:spcPts val="200"/>
              </a:spcAft>
            </a:pPr>
            <a:r>
              <a:rPr lang="en-AU" sz="1200" dirty="0">
                <a:solidFill>
                  <a:schemeClr val="tx2"/>
                </a:solidFill>
              </a:rPr>
              <a:t>An ongoing view of the cohort the entity sits within. Consider the size, demographics and activity of the entity that might indicate they are at higher risk of non-compliance and/or justify an inspection (e.g., is the entity at risk of financial difficulty?) </a:t>
            </a:r>
          </a:p>
        </p:txBody>
      </p:sp>
      <p:sp>
        <p:nvSpPr>
          <p:cNvPr id="28" name="Content Placeholder 1">
            <a:extLst>
              <a:ext uri="{FF2B5EF4-FFF2-40B4-BE49-F238E27FC236}">
                <a16:creationId xmlns:a16="http://schemas.microsoft.com/office/drawing/2014/main" id="{A3A5CE9D-3A16-BFF2-E713-736928FCEE73}"/>
              </a:ext>
            </a:extLst>
          </p:cNvPr>
          <p:cNvSpPr txBox="1">
            <a:spLocks/>
          </p:cNvSpPr>
          <p:nvPr/>
        </p:nvSpPr>
        <p:spPr>
          <a:xfrm>
            <a:off x="530367" y="4640065"/>
            <a:ext cx="8820000" cy="603273"/>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400"/>
              </a:spcAft>
              <a:buClr>
                <a:schemeClr val="tx2"/>
              </a:buClr>
              <a:buFont typeface="Arial" panose="020B0604020202020204" pitchFamily="34" charset="0"/>
              <a:buNone/>
            </a:pPr>
            <a:r>
              <a:rPr lang="en-AU" dirty="0">
                <a:cs typeface="Segoe UI"/>
              </a:rPr>
              <a:t>In addition, consider whether inspections may also be required for operational reasons:</a:t>
            </a:r>
          </a:p>
        </p:txBody>
      </p:sp>
      <p:sp>
        <p:nvSpPr>
          <p:cNvPr id="30" name="Rectangle 29">
            <a:extLst>
              <a:ext uri="{FF2B5EF4-FFF2-40B4-BE49-F238E27FC236}">
                <a16:creationId xmlns:a16="http://schemas.microsoft.com/office/drawing/2014/main" id="{04F0178A-2495-4678-5DE5-24166382A337}"/>
              </a:ext>
            </a:extLst>
          </p:cNvPr>
          <p:cNvSpPr/>
          <p:nvPr/>
        </p:nvSpPr>
        <p:spPr>
          <a:xfrm>
            <a:off x="530368" y="5125036"/>
            <a:ext cx="1298432" cy="603273"/>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54000" rtlCol="0" anchor="ctr"/>
          <a:lstStyle/>
          <a:p>
            <a:r>
              <a:rPr lang="en-AU" sz="1200" dirty="0">
                <a:solidFill>
                  <a:schemeClr val="bg1">
                    <a:lumMod val="95000"/>
                  </a:schemeClr>
                </a:solidFill>
                <a:latin typeface="VIC SemiBold" panose="00000700000000000000" pitchFamily="50" charset="0"/>
              </a:rPr>
              <a:t>Operational considerations</a:t>
            </a:r>
          </a:p>
        </p:txBody>
      </p:sp>
      <p:sp>
        <p:nvSpPr>
          <p:cNvPr id="31" name="Rectangle 30">
            <a:extLst>
              <a:ext uri="{FF2B5EF4-FFF2-40B4-BE49-F238E27FC236}">
                <a16:creationId xmlns:a16="http://schemas.microsoft.com/office/drawing/2014/main" id="{DCE756FD-40E7-EE31-6276-EB57B90919EF}"/>
              </a:ext>
            </a:extLst>
          </p:cNvPr>
          <p:cNvSpPr/>
          <p:nvPr/>
        </p:nvSpPr>
        <p:spPr>
          <a:xfrm>
            <a:off x="1990828" y="5125036"/>
            <a:ext cx="7365548" cy="60327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chorCtr="0"/>
          <a:lstStyle/>
          <a:p>
            <a:pPr>
              <a:spcAft>
                <a:spcPts val="200"/>
              </a:spcAft>
            </a:pPr>
            <a:r>
              <a:rPr lang="en-AU" sz="1200" dirty="0">
                <a:solidFill>
                  <a:schemeClr val="tx2"/>
                </a:solidFill>
              </a:rPr>
              <a:t>May include things like whether an inspection would support other teams (e.g., investigations), will support strategic or proactive inspections, or is required to follow-up on past action.</a:t>
            </a:r>
          </a:p>
        </p:txBody>
      </p:sp>
    </p:spTree>
    <p:extLst>
      <p:ext uri="{BB962C8B-B14F-4D97-AF65-F5344CB8AC3E}">
        <p14:creationId xmlns:p14="http://schemas.microsoft.com/office/powerpoint/2010/main" val="42106712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CEFBE91-2D89-61B4-337F-14E326438BB1}"/>
              </a:ext>
            </a:extLst>
          </p:cNvPr>
          <p:cNvGraphicFramePr>
            <a:graphicFrameLocks noChangeAspect="1"/>
          </p:cNvGraphicFramePr>
          <p:nvPr>
            <p:custDataLst>
              <p:tags r:id="rId1"/>
            </p:custDataLst>
            <p:extLst>
              <p:ext uri="{D42A27DB-BD31-4B8C-83A1-F6EECF244321}">
                <p14:modId xmlns:p14="http://schemas.microsoft.com/office/powerpoint/2010/main" val="3265549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4CEFBE91-2D89-61B4-337F-14E326438B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B068FAC4-4E35-4912-1E95-4C38FB047EE7}"/>
              </a:ext>
            </a:extLst>
          </p:cNvPr>
          <p:cNvSpPr>
            <a:spLocks noGrp="1"/>
          </p:cNvSpPr>
          <p:nvPr>
            <p:ph sz="quarter" idx="13"/>
          </p:nvPr>
        </p:nvSpPr>
        <p:spPr>
          <a:xfrm>
            <a:off x="539999" y="1268761"/>
            <a:ext cx="8820000" cy="1167100"/>
          </a:xfrm>
        </p:spPr>
        <p:txBody>
          <a:bodyPr/>
          <a:lstStyle/>
          <a:p>
            <a:pPr marL="0" indent="0">
              <a:buNone/>
            </a:pPr>
            <a:r>
              <a:rPr lang="en-AU" dirty="0"/>
              <a:t>The table below provides potential examples of information viewed through the </a:t>
            </a:r>
            <a:r>
              <a:rPr lang="en-AU" dirty="0">
                <a:latin typeface="VIC SemiBold" panose="00000700000000000000" pitchFamily="50" charset="0"/>
              </a:rPr>
              <a:t>conduct</a:t>
            </a:r>
            <a:r>
              <a:rPr lang="en-AU" dirty="0"/>
              <a:t> lens that may indicate when an inspection is required. </a:t>
            </a:r>
          </a:p>
        </p:txBody>
      </p:sp>
      <p:sp>
        <p:nvSpPr>
          <p:cNvPr id="3" name="Title 2">
            <a:extLst>
              <a:ext uri="{FF2B5EF4-FFF2-40B4-BE49-F238E27FC236}">
                <a16:creationId xmlns:a16="http://schemas.microsoft.com/office/drawing/2014/main" id="{0B0E0EEE-AAF7-27D9-5453-D9B85663617E}"/>
              </a:ext>
            </a:extLst>
          </p:cNvPr>
          <p:cNvSpPr>
            <a:spLocks noGrp="1"/>
          </p:cNvSpPr>
          <p:nvPr>
            <p:ph type="title"/>
          </p:nvPr>
        </p:nvSpPr>
        <p:spPr>
          <a:xfrm>
            <a:off x="539999" y="299382"/>
            <a:ext cx="8820000" cy="590917"/>
          </a:xfrm>
        </p:spPr>
        <p:txBody>
          <a:bodyPr vert="horz"/>
          <a:lstStyle/>
          <a:p>
            <a:r>
              <a:rPr lang="en-AU" dirty="0">
                <a:latin typeface="VIC SemiBold" panose="00000700000000000000" pitchFamily="2" charset="0"/>
              </a:rPr>
              <a:t>Rationale for inspections</a:t>
            </a:r>
            <a:r>
              <a:rPr lang="en-AU" dirty="0"/>
              <a:t> | Consider conduct information to inform when an inspection is required</a:t>
            </a:r>
          </a:p>
        </p:txBody>
      </p:sp>
      <p:graphicFrame>
        <p:nvGraphicFramePr>
          <p:cNvPr id="4" name="Table 3">
            <a:extLst>
              <a:ext uri="{FF2B5EF4-FFF2-40B4-BE49-F238E27FC236}">
                <a16:creationId xmlns:a16="http://schemas.microsoft.com/office/drawing/2014/main" id="{BD48924B-0496-CA2C-8D73-A47E59DB3E4C}"/>
              </a:ext>
            </a:extLst>
          </p:cNvPr>
          <p:cNvGraphicFramePr>
            <a:graphicFrameLocks noGrp="1"/>
          </p:cNvGraphicFramePr>
          <p:nvPr>
            <p:extLst>
              <p:ext uri="{D42A27DB-BD31-4B8C-83A1-F6EECF244321}">
                <p14:modId xmlns:p14="http://schemas.microsoft.com/office/powerpoint/2010/main" val="2835741299"/>
              </p:ext>
            </p:extLst>
          </p:nvPr>
        </p:nvGraphicFramePr>
        <p:xfrm>
          <a:off x="539999" y="1719579"/>
          <a:ext cx="8820000" cy="4257887"/>
        </p:xfrm>
        <a:graphic>
          <a:graphicData uri="http://schemas.openxmlformats.org/drawingml/2006/table">
            <a:tbl>
              <a:tblPr firstRow="1" bandRow="1">
                <a:tableStyleId>{5C22544A-7EE6-4342-B048-85BDC9FD1C3A}</a:tableStyleId>
              </a:tblPr>
              <a:tblGrid>
                <a:gridCol w="2025401">
                  <a:extLst>
                    <a:ext uri="{9D8B030D-6E8A-4147-A177-3AD203B41FA5}">
                      <a16:colId xmlns:a16="http://schemas.microsoft.com/office/drawing/2014/main" val="1408393705"/>
                    </a:ext>
                  </a:extLst>
                </a:gridCol>
                <a:gridCol w="6794599">
                  <a:extLst>
                    <a:ext uri="{9D8B030D-6E8A-4147-A177-3AD203B41FA5}">
                      <a16:colId xmlns:a16="http://schemas.microsoft.com/office/drawing/2014/main" val="1619153461"/>
                    </a:ext>
                  </a:extLst>
                </a:gridCol>
              </a:tblGrid>
              <a:tr h="283375">
                <a:tc gridSpan="2">
                  <a:txBody>
                    <a:bodyPr/>
                    <a:lstStyle/>
                    <a:p>
                      <a:pPr algn="ctr">
                        <a:spcBef>
                          <a:spcPts val="400"/>
                        </a:spcBef>
                      </a:pPr>
                      <a:r>
                        <a:rPr lang="en-AU" sz="1050" b="1" i="0" dirty="0">
                          <a:solidFill>
                            <a:schemeClr val="bg1"/>
                          </a:solidFill>
                          <a:latin typeface="VIC SemiBold" panose="00000700000000000000" pitchFamily="50" charset="0"/>
                        </a:rPr>
                        <a:t>Conduct</a:t>
                      </a:r>
                    </a:p>
                  </a:txBody>
                  <a:tcPr marL="90000" marR="90000" marT="36000" marB="36000" anchor="ctr">
                    <a:lnL w="12700" cmpd="sng">
                      <a:noFill/>
                    </a:lnL>
                    <a:lnT w="2857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lumMod val="75000"/>
                        <a:lumOff val="25000"/>
                      </a:schemeClr>
                    </a:solidFill>
                  </a:tcPr>
                </a:tc>
                <a:tc hMerge="1">
                  <a:txBody>
                    <a:bodyPr/>
                    <a:lstStyle/>
                    <a:p>
                      <a:endParaRPr/>
                    </a:p>
                  </a:txBody>
                  <a:tcPr marL="90000" marR="90000" marT="36000" marB="36000" anchor="ctr">
                    <a:lnL w="12700" cap="flat" cmpd="sng" algn="ctr">
                      <a:solidFill>
                        <a:schemeClr val="bg1"/>
                      </a:solidFill>
                      <a:prstDash val="solid"/>
                      <a:round/>
                      <a:headEnd type="none" w="med" len="med"/>
                      <a:tailEnd type="none" w="med" len="med"/>
                    </a:lnL>
                    <a:lnR w="12700" cmpd="sng">
                      <a:noFill/>
                    </a:lnR>
                    <a:lnT w="2857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722755280"/>
                  </a:ext>
                </a:extLst>
              </a:tr>
              <a:tr h="1936848">
                <a:tc>
                  <a:txBody>
                    <a:bodyPr/>
                    <a:lstStyle/>
                    <a:p>
                      <a:pPr>
                        <a:lnSpc>
                          <a:spcPct val="106000"/>
                        </a:lnSpc>
                        <a:spcBef>
                          <a:spcPts val="0"/>
                        </a:spcBef>
                        <a:spcAft>
                          <a:spcPts val="100"/>
                        </a:spcAft>
                      </a:pPr>
                      <a:r>
                        <a:rPr lang="en-AU" sz="1050" b="1" dirty="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rPr>
                        <a:t>A timely response is required</a:t>
                      </a:r>
                    </a:p>
                  </a:txBody>
                  <a:tcPr marL="41025" marR="41025" marT="27511" marB="27511"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Bef>
                          <a:spcPts val="400"/>
                        </a:spcBef>
                      </a:pPr>
                      <a:r>
                        <a:rPr lang="en-AU" sz="1050" b="0" dirty="0">
                          <a:solidFill>
                            <a:schemeClr val="tx2"/>
                          </a:solidFill>
                          <a:latin typeface="VIC SemiBold" panose="00000700000000000000" pitchFamily="50" charset="0"/>
                        </a:rPr>
                        <a:t>A timely response is required.</a:t>
                      </a:r>
                      <a:r>
                        <a:rPr lang="en-AU" sz="1050" b="0" dirty="0">
                          <a:solidFill>
                            <a:schemeClr val="tx2"/>
                          </a:solidFill>
                        </a:rPr>
                        <a:t> For example:</a:t>
                      </a:r>
                    </a:p>
                    <a:p>
                      <a:pPr marL="171450" indent="-171450">
                        <a:spcBef>
                          <a:spcPts val="400"/>
                        </a:spcBef>
                        <a:buFont typeface="Arial" panose="020B0604020202020204" pitchFamily="34" charset="0"/>
                        <a:buChar char="•"/>
                      </a:pPr>
                      <a:r>
                        <a:rPr lang="en-AU" sz="1050" b="0" dirty="0">
                          <a:solidFill>
                            <a:schemeClr val="tx2"/>
                          </a:solidFill>
                        </a:rPr>
                        <a:t>There is an opportunity to resolve non-compliance before it worsens.</a:t>
                      </a:r>
                    </a:p>
                    <a:p>
                      <a:pPr marL="171450" indent="-171450">
                        <a:spcBef>
                          <a:spcPts val="400"/>
                        </a:spcBef>
                        <a:buFont typeface="Arial" panose="020B0604020202020204" pitchFamily="34" charset="0"/>
                        <a:buChar char="•"/>
                      </a:pPr>
                      <a:r>
                        <a:rPr lang="en-AU" sz="1050" b="0" dirty="0">
                          <a:solidFill>
                            <a:schemeClr val="tx2"/>
                          </a:solidFill>
                        </a:rPr>
                        <a:t>The potential non-compliance may be difficult to assess later.</a:t>
                      </a:r>
                    </a:p>
                    <a:p>
                      <a:pPr>
                        <a:spcBef>
                          <a:spcPts val="400"/>
                        </a:spcBef>
                      </a:pPr>
                      <a:r>
                        <a:rPr lang="en-AU" sz="1050" b="0" dirty="0">
                          <a:solidFill>
                            <a:schemeClr val="tx2"/>
                          </a:solidFill>
                        </a:rPr>
                        <a:t>The reported non-compliance is </a:t>
                      </a:r>
                      <a:r>
                        <a:rPr lang="en-AU" sz="1050" b="0" dirty="0">
                          <a:solidFill>
                            <a:schemeClr val="tx2"/>
                          </a:solidFill>
                          <a:latin typeface="VIC SemiBold" panose="00000700000000000000" pitchFamily="50" charset="0"/>
                        </a:rPr>
                        <a:t>complex or high profile and requires a rapid response</a:t>
                      </a:r>
                      <a:r>
                        <a:rPr lang="en-AU" sz="1050" b="0" dirty="0">
                          <a:solidFill>
                            <a:schemeClr val="tx2"/>
                          </a:solidFill>
                        </a:rPr>
                        <a:t>, For example:</a:t>
                      </a:r>
                    </a:p>
                    <a:p>
                      <a:pPr marL="171450" indent="-171450">
                        <a:spcBef>
                          <a:spcPts val="400"/>
                        </a:spcBef>
                        <a:buFont typeface="Arial" panose="020B0604020202020204" pitchFamily="34" charset="0"/>
                        <a:buChar char="•"/>
                      </a:pPr>
                      <a:r>
                        <a:rPr lang="en-AU" sz="1050" b="0" dirty="0">
                          <a:solidFill>
                            <a:schemeClr val="tx2"/>
                          </a:solidFill>
                        </a:rPr>
                        <a:t>Public or media interest warrants a more proactive inspection to ‘be seen’.</a:t>
                      </a:r>
                    </a:p>
                    <a:p>
                      <a:pPr marL="171450" indent="-171450">
                        <a:spcBef>
                          <a:spcPts val="400"/>
                        </a:spcBef>
                        <a:buFont typeface="Arial" panose="020B0604020202020204" pitchFamily="34" charset="0"/>
                        <a:buChar char="•"/>
                      </a:pPr>
                      <a:r>
                        <a:rPr lang="en-AU" sz="1050" b="0" dirty="0">
                          <a:solidFill>
                            <a:schemeClr val="tx2"/>
                          </a:solidFill>
                        </a:rPr>
                        <a:t>There are indicators of significant harm.</a:t>
                      </a:r>
                    </a:p>
                    <a:p>
                      <a:pPr marL="171450" indent="-171450">
                        <a:spcBef>
                          <a:spcPts val="400"/>
                        </a:spcBef>
                        <a:buFont typeface="Arial" panose="020B0604020202020204" pitchFamily="34" charset="0"/>
                        <a:buChar char="•"/>
                      </a:pPr>
                      <a:r>
                        <a:rPr lang="en-AU" sz="1050" b="0" dirty="0">
                          <a:solidFill>
                            <a:schemeClr val="tx2"/>
                          </a:solidFill>
                        </a:rPr>
                        <a:t>An external event or emergency requires an on-site response.</a:t>
                      </a:r>
                    </a:p>
                  </a:txBody>
                  <a:tcPr marL="90000" marR="90000" marT="36000" marB="3600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4236901078"/>
                  </a:ext>
                </a:extLst>
              </a:tr>
              <a:tr h="500221">
                <a:tc>
                  <a:txBody>
                    <a:bodyPr/>
                    <a:lstStyle/>
                    <a:p>
                      <a:pPr marL="0" marR="0" lvl="0" indent="0" algn="l" defTabSz="1039515" rtl="0" eaLnBrk="1" fontAlgn="auto" latinLnBrk="0" hangingPunct="1">
                        <a:lnSpc>
                          <a:spcPct val="106000"/>
                        </a:lnSpc>
                        <a:spcBef>
                          <a:spcPts val="0"/>
                        </a:spcBef>
                        <a:spcAft>
                          <a:spcPts val="100"/>
                        </a:spcAft>
                        <a:buClrTx/>
                        <a:buSzTx/>
                        <a:buFontTx/>
                        <a:buNone/>
                        <a:tabLst/>
                        <a:defRPr/>
                      </a:pPr>
                      <a:r>
                        <a:rPr kumimoji="0" lang="en-AU" sz="1050" b="1" i="0" u="none" strike="noStrike" kern="1200" cap="none" spc="0" normalizeH="0" baseline="0" noProof="0" dirty="0">
                          <a:ln>
                            <a:noFill/>
                          </a:ln>
                          <a:solidFill>
                            <a:schemeClr val="tx2"/>
                          </a:solidFill>
                          <a:effectLst/>
                          <a:uLnTx/>
                          <a:uFillTx/>
                          <a:latin typeface="VIC SemiBold" panose="00000700000000000000" pitchFamily="50" charset="0"/>
                          <a:ea typeface="Segoe UI" panose="020B0502040204020203" pitchFamily="34" charset="0"/>
                          <a:cs typeface="Times New Roman" panose="02020603050405020304" pitchFamily="18" charset="0"/>
                        </a:rPr>
                        <a:t>Specialist knowledge is required</a:t>
                      </a:r>
                    </a:p>
                  </a:txBody>
                  <a:tcPr marL="41025" marR="41025" marT="27511" marB="27511"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Bef>
                          <a:spcPts val="400"/>
                        </a:spcBef>
                      </a:pPr>
                      <a:r>
                        <a:rPr lang="en-AU" sz="1050" b="0" dirty="0">
                          <a:solidFill>
                            <a:schemeClr val="tx2"/>
                          </a:solidFill>
                        </a:rPr>
                        <a:t>The upfront technical expertise of inspectors is required. This may be when dealing with unique or uncommon situations or when there is a high risk of harm.</a:t>
                      </a:r>
                    </a:p>
                  </a:txBody>
                  <a:tcPr marL="90000" marR="90000" marT="36000" marB="3600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249717640"/>
                  </a:ext>
                </a:extLst>
              </a:tr>
              <a:tr h="1033812">
                <a:tc>
                  <a:txBody>
                    <a:bodyPr/>
                    <a:lstStyle/>
                    <a:p>
                      <a:pPr marL="0" marR="0" lvl="0" indent="0" algn="l" defTabSz="1039515" rtl="0" eaLnBrk="1" fontAlgn="auto" latinLnBrk="0" hangingPunct="1">
                        <a:lnSpc>
                          <a:spcPct val="106000"/>
                        </a:lnSpc>
                        <a:spcBef>
                          <a:spcPts val="0"/>
                        </a:spcBef>
                        <a:spcAft>
                          <a:spcPts val="100"/>
                        </a:spcAft>
                        <a:buClrTx/>
                        <a:buSzTx/>
                        <a:buFontTx/>
                        <a:buNone/>
                        <a:tabLst/>
                        <a:defRPr/>
                      </a:pPr>
                      <a:r>
                        <a:rPr kumimoji="0" lang="en-AU" sz="1050" b="1" i="0" u="none" strike="noStrike" kern="1200" cap="none" spc="0" normalizeH="0" baseline="0" noProof="0" dirty="0">
                          <a:ln>
                            <a:noFill/>
                          </a:ln>
                          <a:solidFill>
                            <a:schemeClr val="tx2"/>
                          </a:solidFill>
                          <a:effectLst/>
                          <a:uLnTx/>
                          <a:uFillTx/>
                          <a:latin typeface="VIC SemiBold" panose="00000700000000000000" pitchFamily="50" charset="0"/>
                          <a:ea typeface="Segoe UI" panose="020B0502040204020203" pitchFamily="34" charset="0"/>
                          <a:cs typeface="Times New Roman" panose="02020603050405020304" pitchFamily="18" charset="0"/>
                        </a:rPr>
                        <a:t>More efficient or effective than other activities (e.g., desktop assessment)</a:t>
                      </a:r>
                    </a:p>
                  </a:txBody>
                  <a:tcPr marL="41025" marR="41025" marT="27511" marB="27511"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Bef>
                          <a:spcPts val="400"/>
                        </a:spcBef>
                      </a:pPr>
                      <a:r>
                        <a:rPr lang="en-AU" sz="1050" b="0" dirty="0">
                          <a:solidFill>
                            <a:schemeClr val="tx2"/>
                          </a:solidFill>
                        </a:rPr>
                        <a:t>An inspection is the </a:t>
                      </a:r>
                      <a:r>
                        <a:rPr lang="en-AU" sz="1050" b="0" dirty="0">
                          <a:solidFill>
                            <a:schemeClr val="tx2"/>
                          </a:solidFill>
                          <a:latin typeface="VIC SemiBold" panose="00000700000000000000" pitchFamily="50" charset="0"/>
                        </a:rPr>
                        <a:t>best course of action to deliver early value</a:t>
                      </a:r>
                      <a:r>
                        <a:rPr lang="en-AU" sz="1050" b="0" dirty="0">
                          <a:solidFill>
                            <a:schemeClr val="tx2"/>
                          </a:solidFill>
                        </a:rPr>
                        <a:t>. For example:</a:t>
                      </a:r>
                    </a:p>
                    <a:p>
                      <a:pPr marL="171450" indent="-171450">
                        <a:spcBef>
                          <a:spcPts val="400"/>
                        </a:spcBef>
                        <a:buFont typeface="Arial" panose="020B0604020202020204" pitchFamily="34" charset="0"/>
                        <a:buChar char="•"/>
                      </a:pPr>
                      <a:r>
                        <a:rPr lang="en-AU" sz="1050" b="0" dirty="0">
                          <a:solidFill>
                            <a:schemeClr val="tx2"/>
                          </a:solidFill>
                        </a:rPr>
                        <a:t>Visual confirmation or physical evidence is required.</a:t>
                      </a:r>
                    </a:p>
                    <a:p>
                      <a:pPr marL="171450" indent="-171450">
                        <a:spcBef>
                          <a:spcPts val="400"/>
                        </a:spcBef>
                        <a:buFont typeface="Arial" panose="020B0604020202020204" pitchFamily="34" charset="0"/>
                        <a:buChar char="•"/>
                      </a:pPr>
                      <a:r>
                        <a:rPr lang="en-AU" sz="1050" b="0" dirty="0">
                          <a:solidFill>
                            <a:schemeClr val="tx2"/>
                          </a:solidFill>
                        </a:rPr>
                        <a:t>It would be more efficient to assess compliance with the entity present.</a:t>
                      </a:r>
                    </a:p>
                    <a:p>
                      <a:pPr marL="171450" indent="-171450">
                        <a:spcBef>
                          <a:spcPts val="400"/>
                        </a:spcBef>
                        <a:buFont typeface="Arial" panose="020B0604020202020204" pitchFamily="34" charset="0"/>
                        <a:buChar char="•"/>
                      </a:pPr>
                      <a:r>
                        <a:rPr lang="en-AU" sz="1050" b="0" dirty="0">
                          <a:solidFill>
                            <a:schemeClr val="tx2"/>
                          </a:solidFill>
                        </a:rPr>
                        <a:t>There are multiple non-compliances that may be better handled as a single project.</a:t>
                      </a:r>
                    </a:p>
                  </a:txBody>
                  <a:tcPr marL="90000" marR="90000" marT="36000" marB="3600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1689923596"/>
                  </a:ext>
                </a:extLst>
              </a:tr>
              <a:tr h="503631">
                <a:tc>
                  <a:txBody>
                    <a:bodyPr/>
                    <a:lstStyle/>
                    <a:p>
                      <a:pPr marL="0" marR="0" lvl="0" indent="0" algn="l" defTabSz="1039515" rtl="0" eaLnBrk="1" fontAlgn="auto" latinLnBrk="0" hangingPunct="1">
                        <a:lnSpc>
                          <a:spcPct val="106000"/>
                        </a:lnSpc>
                        <a:spcBef>
                          <a:spcPts val="0"/>
                        </a:spcBef>
                        <a:spcAft>
                          <a:spcPts val="100"/>
                        </a:spcAft>
                        <a:buClrTx/>
                        <a:buSzTx/>
                        <a:buFontTx/>
                        <a:buNone/>
                        <a:tabLst/>
                        <a:defRPr/>
                      </a:pPr>
                      <a:r>
                        <a:rPr kumimoji="0" lang="en-AU" sz="1050" b="1" i="0" u="none" strike="noStrike" kern="1200" cap="none" spc="0" normalizeH="0" baseline="0" noProof="0" dirty="0">
                          <a:ln>
                            <a:noFill/>
                          </a:ln>
                          <a:solidFill>
                            <a:schemeClr val="tx2"/>
                          </a:solidFill>
                          <a:effectLst/>
                          <a:uLnTx/>
                          <a:uFillTx/>
                          <a:latin typeface="VIC SemiBold" panose="00000700000000000000" pitchFamily="50" charset="0"/>
                          <a:ea typeface="Segoe UI" panose="020B0502040204020203" pitchFamily="34" charset="0"/>
                          <a:cs typeface="Times New Roman" panose="02020603050405020304" pitchFamily="18" charset="0"/>
                        </a:rPr>
                        <a:t>Conduct aligns with key regulatory priorities</a:t>
                      </a:r>
                    </a:p>
                  </a:txBody>
                  <a:tcPr marL="41025" marR="41025" marT="27511" marB="27511"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spcBef>
                          <a:spcPts val="400"/>
                        </a:spcBef>
                        <a:buFont typeface="Arial" panose="020B0604020202020204" pitchFamily="34" charset="0"/>
                        <a:buChar char="•"/>
                      </a:pPr>
                      <a:r>
                        <a:rPr lang="en-AU" sz="1050" b="0" dirty="0">
                          <a:solidFill>
                            <a:schemeClr val="tx2"/>
                          </a:solidFill>
                        </a:rPr>
                        <a:t>The conduct aligns with your regulatory priorities.</a:t>
                      </a:r>
                    </a:p>
                    <a:p>
                      <a:pPr marL="171450" indent="-171450">
                        <a:spcBef>
                          <a:spcPts val="400"/>
                        </a:spcBef>
                        <a:buFont typeface="Arial" panose="020B0604020202020204" pitchFamily="34" charset="0"/>
                        <a:buChar char="•"/>
                      </a:pPr>
                      <a:r>
                        <a:rPr lang="en-AU" sz="1050" b="0" dirty="0">
                          <a:solidFill>
                            <a:schemeClr val="tx2"/>
                          </a:solidFill>
                        </a:rPr>
                        <a:t>A co-regulator or trusted external body has referred the matter for inspection. </a:t>
                      </a:r>
                    </a:p>
                  </a:txBody>
                  <a:tcPr marL="90000" marR="90000" marT="36000" marB="36000"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1926230726"/>
                  </a:ext>
                </a:extLst>
              </a:tr>
            </a:tbl>
          </a:graphicData>
        </a:graphic>
      </p:graphicFrame>
    </p:spTree>
    <p:extLst>
      <p:ext uri="{BB962C8B-B14F-4D97-AF65-F5344CB8AC3E}">
        <p14:creationId xmlns:p14="http://schemas.microsoft.com/office/powerpoint/2010/main" val="27173481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CEFBE91-2D89-61B4-337F-14E326438BB1}"/>
              </a:ext>
            </a:extLst>
          </p:cNvPr>
          <p:cNvGraphicFramePr>
            <a:graphicFrameLocks noChangeAspect="1"/>
          </p:cNvGraphicFramePr>
          <p:nvPr>
            <p:custDataLst>
              <p:tags r:id="rId1"/>
            </p:custDataLst>
            <p:extLst>
              <p:ext uri="{D42A27DB-BD31-4B8C-83A1-F6EECF244321}">
                <p14:modId xmlns:p14="http://schemas.microsoft.com/office/powerpoint/2010/main" val="1069897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think-cell data - do not delete" hidden="1">
                        <a:extLst>
                          <a:ext uri="{FF2B5EF4-FFF2-40B4-BE49-F238E27FC236}">
                            <a16:creationId xmlns:a16="http://schemas.microsoft.com/office/drawing/2014/main" id="{4CEFBE91-2D89-61B4-337F-14E326438B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B068FAC4-4E35-4912-1E95-4C38FB047EE7}"/>
              </a:ext>
            </a:extLst>
          </p:cNvPr>
          <p:cNvSpPr>
            <a:spLocks noGrp="1"/>
          </p:cNvSpPr>
          <p:nvPr>
            <p:ph sz="quarter" idx="13"/>
          </p:nvPr>
        </p:nvSpPr>
        <p:spPr>
          <a:xfrm>
            <a:off x="539999" y="1268761"/>
            <a:ext cx="8820000" cy="1167100"/>
          </a:xfrm>
        </p:spPr>
        <p:txBody>
          <a:bodyPr/>
          <a:lstStyle/>
          <a:p>
            <a:pPr marL="0" indent="0">
              <a:buNone/>
            </a:pPr>
            <a:r>
              <a:rPr lang="en-AU" dirty="0"/>
              <a:t>The table below provides potential examples of information viewed through the </a:t>
            </a:r>
            <a:r>
              <a:rPr lang="en-AU" dirty="0">
                <a:latin typeface="VIC SemiBold" panose="00000700000000000000" pitchFamily="50" charset="0"/>
              </a:rPr>
              <a:t>entity</a:t>
            </a:r>
            <a:r>
              <a:rPr lang="en-AU" dirty="0"/>
              <a:t> lens that may indicate when an inspection is required. </a:t>
            </a:r>
          </a:p>
        </p:txBody>
      </p:sp>
      <p:sp>
        <p:nvSpPr>
          <p:cNvPr id="3" name="Title 2">
            <a:extLst>
              <a:ext uri="{FF2B5EF4-FFF2-40B4-BE49-F238E27FC236}">
                <a16:creationId xmlns:a16="http://schemas.microsoft.com/office/drawing/2014/main" id="{0B0E0EEE-AAF7-27D9-5453-D9B85663617E}"/>
              </a:ext>
            </a:extLst>
          </p:cNvPr>
          <p:cNvSpPr>
            <a:spLocks noGrp="1"/>
          </p:cNvSpPr>
          <p:nvPr>
            <p:ph type="title"/>
          </p:nvPr>
        </p:nvSpPr>
        <p:spPr>
          <a:xfrm>
            <a:off x="539999" y="548681"/>
            <a:ext cx="8820000" cy="341618"/>
          </a:xfrm>
        </p:spPr>
        <p:txBody>
          <a:bodyPr vert="horz"/>
          <a:lstStyle/>
          <a:p>
            <a:r>
              <a:rPr lang="en-AU" dirty="0">
                <a:latin typeface="VIC SemiBold" panose="00000700000000000000" pitchFamily="2" charset="0"/>
              </a:rPr>
              <a:t>Rationale for inspections</a:t>
            </a:r>
            <a:r>
              <a:rPr lang="en-AU" dirty="0"/>
              <a:t> | Consider entity history to assess a valid referral for an inspection</a:t>
            </a:r>
          </a:p>
        </p:txBody>
      </p:sp>
      <p:graphicFrame>
        <p:nvGraphicFramePr>
          <p:cNvPr id="4" name="Table 3">
            <a:extLst>
              <a:ext uri="{FF2B5EF4-FFF2-40B4-BE49-F238E27FC236}">
                <a16:creationId xmlns:a16="http://schemas.microsoft.com/office/drawing/2014/main" id="{BD48924B-0496-CA2C-8D73-A47E59DB3E4C}"/>
              </a:ext>
            </a:extLst>
          </p:cNvPr>
          <p:cNvGraphicFramePr>
            <a:graphicFrameLocks noGrp="1"/>
          </p:cNvGraphicFramePr>
          <p:nvPr>
            <p:extLst>
              <p:ext uri="{D42A27DB-BD31-4B8C-83A1-F6EECF244321}">
                <p14:modId xmlns:p14="http://schemas.microsoft.com/office/powerpoint/2010/main" val="1736882309"/>
              </p:ext>
            </p:extLst>
          </p:nvPr>
        </p:nvGraphicFramePr>
        <p:xfrm>
          <a:off x="539999" y="1738829"/>
          <a:ext cx="8820000" cy="2545756"/>
        </p:xfrm>
        <a:graphic>
          <a:graphicData uri="http://schemas.openxmlformats.org/drawingml/2006/table">
            <a:tbl>
              <a:tblPr firstRow="1" bandRow="1">
                <a:tableStyleId>{5C22544A-7EE6-4342-B048-85BDC9FD1C3A}</a:tableStyleId>
              </a:tblPr>
              <a:tblGrid>
                <a:gridCol w="2025401">
                  <a:extLst>
                    <a:ext uri="{9D8B030D-6E8A-4147-A177-3AD203B41FA5}">
                      <a16:colId xmlns:a16="http://schemas.microsoft.com/office/drawing/2014/main" val="1408393705"/>
                    </a:ext>
                  </a:extLst>
                </a:gridCol>
                <a:gridCol w="6794599">
                  <a:extLst>
                    <a:ext uri="{9D8B030D-6E8A-4147-A177-3AD203B41FA5}">
                      <a16:colId xmlns:a16="http://schemas.microsoft.com/office/drawing/2014/main" val="1619153461"/>
                    </a:ext>
                  </a:extLst>
                </a:gridCol>
              </a:tblGrid>
              <a:tr h="297249">
                <a:tc gridSpan="2">
                  <a:txBody>
                    <a:bodyPr/>
                    <a:lstStyle/>
                    <a:p>
                      <a:pPr algn="ctr">
                        <a:spcBef>
                          <a:spcPts val="400"/>
                        </a:spcBef>
                      </a:pPr>
                      <a:r>
                        <a:rPr lang="en-AU" sz="1050" b="1" i="0" dirty="0">
                          <a:solidFill>
                            <a:schemeClr val="bg1"/>
                          </a:solidFill>
                          <a:latin typeface="VIC SemiBold" panose="00000700000000000000" pitchFamily="50" charset="0"/>
                        </a:rPr>
                        <a:t>Entity</a:t>
                      </a:r>
                    </a:p>
                  </a:txBody>
                  <a:tcPr marL="90000" marR="90000" marT="36000" marB="36000" anchor="ctr">
                    <a:lnL w="12700" cmpd="sng">
                      <a:noFill/>
                    </a:lnL>
                    <a:lnT w="2857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lumMod val="75000"/>
                        <a:lumOff val="25000"/>
                      </a:schemeClr>
                    </a:solidFill>
                  </a:tcPr>
                </a:tc>
                <a:tc hMerge="1">
                  <a:txBody>
                    <a:bodyPr/>
                    <a:lstStyle/>
                    <a:p>
                      <a:endParaRPr/>
                    </a:p>
                  </a:txBody>
                  <a:tcPr marL="90000" marR="90000" marT="36000" marB="36000" anchor="ctr">
                    <a:lnL w="12700" cap="flat" cmpd="sng" algn="ctr">
                      <a:solidFill>
                        <a:schemeClr val="bg1"/>
                      </a:solidFill>
                      <a:prstDash val="solid"/>
                      <a:round/>
                      <a:headEnd type="none" w="med" len="med"/>
                      <a:tailEnd type="none" w="med" len="med"/>
                    </a:lnL>
                    <a:lnR w="12700" cmpd="sng">
                      <a:noFill/>
                    </a:lnR>
                    <a:lnT w="2857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722755280"/>
                  </a:ext>
                </a:extLst>
              </a:tr>
              <a:tr h="808140">
                <a:tc>
                  <a:txBody>
                    <a:bodyPr/>
                    <a:lstStyle/>
                    <a:p>
                      <a:pPr>
                        <a:lnSpc>
                          <a:spcPct val="106000"/>
                        </a:lnSpc>
                        <a:spcBef>
                          <a:spcPts val="0"/>
                        </a:spcBef>
                        <a:spcAft>
                          <a:spcPts val="100"/>
                        </a:spcAft>
                      </a:pPr>
                      <a:r>
                        <a:rPr lang="en-AU" sz="1050" b="1" dirty="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rPr>
                        <a:t>Inspection and discipline history</a:t>
                      </a:r>
                    </a:p>
                  </a:txBody>
                  <a:tcPr marL="41025" marR="41025" marT="27511" marB="27511"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349"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AU" sz="1000" b="0" dirty="0">
                          <a:solidFill>
                            <a:schemeClr val="tx2"/>
                          </a:solidFill>
                        </a:rPr>
                        <a:t>The regulated entity has a history of failed inspections or non-compliances identified.</a:t>
                      </a:r>
                    </a:p>
                    <a:p>
                      <a:pPr marL="171450" indent="-171450">
                        <a:spcBef>
                          <a:spcPts val="400"/>
                        </a:spcBef>
                        <a:buFont typeface="Arial" panose="020B0604020202020204" pitchFamily="34" charset="0"/>
                        <a:buChar char="•"/>
                      </a:pPr>
                      <a:r>
                        <a:rPr lang="en-AU" sz="1000" b="0" dirty="0">
                          <a:solidFill>
                            <a:schemeClr val="tx2"/>
                          </a:solidFill>
                        </a:rPr>
                        <a:t>The </a:t>
                      </a:r>
                      <a:r>
                        <a:rPr lang="en-AU" sz="1000" b="0" dirty="0">
                          <a:solidFill>
                            <a:schemeClr val="tx2"/>
                          </a:solidFill>
                          <a:latin typeface="VIC SemiBold" panose="00000700000000000000" pitchFamily="50" charset="0"/>
                        </a:rPr>
                        <a:t>regulated entity</a:t>
                      </a:r>
                      <a:r>
                        <a:rPr lang="en-AU" sz="1000" b="0" dirty="0">
                          <a:solidFill>
                            <a:schemeClr val="tx2"/>
                          </a:solidFill>
                        </a:rPr>
                        <a:t> a history of a) complaints, b) investigations, c) remedial action, d) sanctions</a:t>
                      </a:r>
                    </a:p>
                  </a:txBody>
                  <a:tcPr marL="90000" marR="90000" marT="36000" marB="3600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4236901078"/>
                  </a:ext>
                </a:extLst>
              </a:tr>
              <a:tr h="938303">
                <a:tc>
                  <a:txBody>
                    <a:bodyPr/>
                    <a:lstStyle/>
                    <a:p>
                      <a:pPr marL="0" marR="0" lvl="0" indent="0" algn="l" defTabSz="1039515" rtl="0" eaLnBrk="1" fontAlgn="auto" latinLnBrk="0" hangingPunct="1">
                        <a:lnSpc>
                          <a:spcPct val="106000"/>
                        </a:lnSpc>
                        <a:spcBef>
                          <a:spcPts val="0"/>
                        </a:spcBef>
                        <a:spcAft>
                          <a:spcPts val="100"/>
                        </a:spcAft>
                        <a:buClrTx/>
                        <a:buSzTx/>
                        <a:buFontTx/>
                        <a:buNone/>
                        <a:tabLst/>
                        <a:defRPr/>
                      </a:pPr>
                      <a:r>
                        <a:rPr kumimoji="0" lang="en-AU" sz="1050" b="1" i="0" u="none" strike="noStrike" kern="1200" cap="none" spc="0" normalizeH="0" baseline="0" noProof="0" dirty="0">
                          <a:ln>
                            <a:noFill/>
                          </a:ln>
                          <a:solidFill>
                            <a:schemeClr val="tx2"/>
                          </a:solidFill>
                          <a:effectLst/>
                          <a:uLnTx/>
                          <a:uFillTx/>
                          <a:latin typeface="VIC SemiBold" panose="00000700000000000000" pitchFamily="50" charset="0"/>
                          <a:ea typeface="Segoe UI" panose="020B0502040204020203" pitchFamily="34" charset="0"/>
                          <a:cs typeface="Times New Roman" panose="02020603050405020304" pitchFamily="18" charset="0"/>
                        </a:rPr>
                        <a:t>Lack of existing information on entity</a:t>
                      </a:r>
                    </a:p>
                  </a:txBody>
                  <a:tcPr marL="41025" marR="41025" marT="27511" marB="27511"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spcBef>
                          <a:spcPts val="400"/>
                        </a:spcBef>
                        <a:buFont typeface="Arial" panose="020B0604020202020204" pitchFamily="34" charset="0"/>
                        <a:buChar char="•"/>
                      </a:pPr>
                      <a:r>
                        <a:rPr lang="en-AU" sz="1000" b="0" dirty="0">
                          <a:solidFill>
                            <a:schemeClr val="tx2"/>
                          </a:solidFill>
                        </a:rPr>
                        <a:t>The entity is </a:t>
                      </a:r>
                      <a:r>
                        <a:rPr lang="en-AU" sz="1000" b="0" dirty="0">
                          <a:solidFill>
                            <a:schemeClr val="tx2"/>
                          </a:solidFill>
                          <a:latin typeface="VIC SemiBold" panose="00000700000000000000" pitchFamily="50" charset="0"/>
                        </a:rPr>
                        <a:t>new and has not been inspected before</a:t>
                      </a:r>
                      <a:r>
                        <a:rPr lang="en-AU" sz="1000" b="0" dirty="0">
                          <a:solidFill>
                            <a:schemeClr val="tx2"/>
                          </a:solidFill>
                        </a:rPr>
                        <a:t>, making it an unknown quantity in terms of compliance risk.</a:t>
                      </a:r>
                    </a:p>
                    <a:p>
                      <a:pPr marL="171450" indent="-171450">
                        <a:spcBef>
                          <a:spcPts val="400"/>
                        </a:spcBef>
                        <a:buFont typeface="Arial" panose="020B0604020202020204" pitchFamily="34" charset="0"/>
                        <a:buChar char="•"/>
                      </a:pPr>
                      <a:r>
                        <a:rPr lang="en-AU" sz="1000" b="0" dirty="0">
                          <a:solidFill>
                            <a:schemeClr val="tx2"/>
                          </a:solidFill>
                        </a:rPr>
                        <a:t>The entity was last inspected over five years ago, raising concerns about whether it is still adhering to current regulatory standards.</a:t>
                      </a:r>
                    </a:p>
                  </a:txBody>
                  <a:tcPr marL="90000" marR="90000" marT="36000" marB="3600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1689923596"/>
                  </a:ext>
                </a:extLst>
              </a:tr>
              <a:tr h="502064">
                <a:tc>
                  <a:txBody>
                    <a:bodyPr/>
                    <a:lstStyle/>
                    <a:p>
                      <a:pPr marL="0" marR="0" lvl="0" indent="0" algn="l" defTabSz="1039515" rtl="0" eaLnBrk="1" fontAlgn="auto" latinLnBrk="0" hangingPunct="1">
                        <a:lnSpc>
                          <a:spcPct val="106000"/>
                        </a:lnSpc>
                        <a:spcBef>
                          <a:spcPts val="0"/>
                        </a:spcBef>
                        <a:spcAft>
                          <a:spcPts val="100"/>
                        </a:spcAft>
                        <a:buClrTx/>
                        <a:buSzTx/>
                        <a:buFontTx/>
                        <a:buNone/>
                        <a:tabLst/>
                        <a:defRPr/>
                      </a:pPr>
                      <a:r>
                        <a:rPr kumimoji="0" lang="en-AU" sz="1050" b="1" i="0" u="none" strike="noStrike" kern="1200" cap="none" spc="0" normalizeH="0" baseline="0" noProof="0" dirty="0">
                          <a:ln>
                            <a:noFill/>
                          </a:ln>
                          <a:solidFill>
                            <a:schemeClr val="tx2"/>
                          </a:solidFill>
                          <a:effectLst/>
                          <a:uLnTx/>
                          <a:uFillTx/>
                          <a:latin typeface="VIC SemiBold" panose="00000700000000000000" pitchFamily="50" charset="0"/>
                          <a:ea typeface="Segoe UI" panose="020B0502040204020203" pitchFamily="34" charset="0"/>
                          <a:cs typeface="Times New Roman" panose="02020603050405020304" pitchFamily="18" charset="0"/>
                        </a:rPr>
                        <a:t>Poor history of interactions with the regulator</a:t>
                      </a:r>
                    </a:p>
                  </a:txBody>
                  <a:tcPr marL="41025" marR="41025" marT="27511" marB="27511"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nSpc>
                          <a:spcPct val="107000"/>
                        </a:lnSpc>
                        <a:spcAft>
                          <a:spcPts val="600"/>
                        </a:spcAft>
                        <a:buFont typeface="Arial" panose="020B0604020202020204" pitchFamily="34" charset="0"/>
                        <a:buChar char="•"/>
                      </a:pPr>
                      <a:r>
                        <a:rPr lang="en-AU" sz="1000" dirty="0">
                          <a:solidFill>
                            <a:schemeClr val="tx2"/>
                          </a:solidFill>
                          <a:effectLst/>
                          <a:latin typeface="VIC" panose="00000500000000000000" pitchFamily="50" charset="0"/>
                          <a:ea typeface="Segoe UI" panose="020B0502040204020203" pitchFamily="34" charset="0"/>
                          <a:cs typeface="Times New Roman" panose="02020603050405020304" pitchFamily="18" charset="0"/>
                        </a:rPr>
                        <a:t>There is a history of poor communication, capability to resolve matters, or meet expectations from the regulated entity.</a:t>
                      </a:r>
                    </a:p>
                  </a:txBody>
                  <a:tcPr marL="90000" marR="90000" marT="36000" marB="36000"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1926230726"/>
                  </a:ext>
                </a:extLst>
              </a:tr>
            </a:tbl>
          </a:graphicData>
        </a:graphic>
      </p:graphicFrame>
    </p:spTree>
    <p:extLst>
      <p:ext uri="{BB962C8B-B14F-4D97-AF65-F5344CB8AC3E}">
        <p14:creationId xmlns:p14="http://schemas.microsoft.com/office/powerpoint/2010/main" val="7056084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CEFBE91-2D89-61B4-337F-14E326438BB1}"/>
              </a:ext>
            </a:extLst>
          </p:cNvPr>
          <p:cNvGraphicFramePr>
            <a:graphicFrameLocks noChangeAspect="1"/>
          </p:cNvGraphicFramePr>
          <p:nvPr>
            <p:custDataLst>
              <p:tags r:id="rId1"/>
            </p:custDataLst>
            <p:extLst>
              <p:ext uri="{D42A27DB-BD31-4B8C-83A1-F6EECF244321}">
                <p14:modId xmlns:p14="http://schemas.microsoft.com/office/powerpoint/2010/main" val="3628225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4CEFBE91-2D89-61B4-337F-14E326438B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B068FAC4-4E35-4912-1E95-4C38FB047EE7}"/>
              </a:ext>
            </a:extLst>
          </p:cNvPr>
          <p:cNvSpPr>
            <a:spLocks noGrp="1"/>
          </p:cNvSpPr>
          <p:nvPr>
            <p:ph sz="quarter" idx="13"/>
          </p:nvPr>
        </p:nvSpPr>
        <p:spPr>
          <a:xfrm>
            <a:off x="539999" y="1268761"/>
            <a:ext cx="8820000" cy="1167100"/>
          </a:xfrm>
        </p:spPr>
        <p:txBody>
          <a:bodyPr/>
          <a:lstStyle/>
          <a:p>
            <a:pPr marL="0" indent="0">
              <a:buNone/>
            </a:pPr>
            <a:r>
              <a:rPr lang="en-AU" dirty="0"/>
              <a:t>The table below provides potential examples of information viewed through the </a:t>
            </a:r>
            <a:r>
              <a:rPr lang="en-AU" dirty="0">
                <a:latin typeface="VIC SemiBold" panose="00000700000000000000" pitchFamily="50" charset="0"/>
              </a:rPr>
              <a:t>cohort</a:t>
            </a:r>
            <a:r>
              <a:rPr lang="en-AU" dirty="0"/>
              <a:t> lens that may indicate when an inspection is required.</a:t>
            </a:r>
          </a:p>
        </p:txBody>
      </p:sp>
      <p:sp>
        <p:nvSpPr>
          <p:cNvPr id="3" name="Title 2">
            <a:extLst>
              <a:ext uri="{FF2B5EF4-FFF2-40B4-BE49-F238E27FC236}">
                <a16:creationId xmlns:a16="http://schemas.microsoft.com/office/drawing/2014/main" id="{0B0E0EEE-AAF7-27D9-5453-D9B85663617E}"/>
              </a:ext>
            </a:extLst>
          </p:cNvPr>
          <p:cNvSpPr>
            <a:spLocks noGrp="1"/>
          </p:cNvSpPr>
          <p:nvPr>
            <p:ph type="title"/>
          </p:nvPr>
        </p:nvSpPr>
        <p:spPr>
          <a:xfrm>
            <a:off x="539999" y="548681"/>
            <a:ext cx="8820000" cy="341618"/>
          </a:xfrm>
        </p:spPr>
        <p:txBody>
          <a:bodyPr vert="horz"/>
          <a:lstStyle/>
          <a:p>
            <a:r>
              <a:rPr lang="en-AU" dirty="0">
                <a:latin typeface="VIC SemiBold"/>
              </a:rPr>
              <a:t>Rationale for inspections</a:t>
            </a:r>
            <a:r>
              <a:rPr lang="en-AU" dirty="0"/>
              <a:t> | Consider cohort intelligence to justify an inspection</a:t>
            </a:r>
          </a:p>
        </p:txBody>
      </p:sp>
      <p:graphicFrame>
        <p:nvGraphicFramePr>
          <p:cNvPr id="4" name="Table 3">
            <a:extLst>
              <a:ext uri="{FF2B5EF4-FFF2-40B4-BE49-F238E27FC236}">
                <a16:creationId xmlns:a16="http://schemas.microsoft.com/office/drawing/2014/main" id="{BD48924B-0496-CA2C-8D73-A47E59DB3E4C}"/>
              </a:ext>
            </a:extLst>
          </p:cNvPr>
          <p:cNvGraphicFramePr>
            <a:graphicFrameLocks noGrp="1"/>
          </p:cNvGraphicFramePr>
          <p:nvPr>
            <p:extLst>
              <p:ext uri="{D42A27DB-BD31-4B8C-83A1-F6EECF244321}">
                <p14:modId xmlns:p14="http://schemas.microsoft.com/office/powerpoint/2010/main" val="678941500"/>
              </p:ext>
            </p:extLst>
          </p:nvPr>
        </p:nvGraphicFramePr>
        <p:xfrm>
          <a:off x="539999" y="1849820"/>
          <a:ext cx="8820000" cy="3831311"/>
        </p:xfrm>
        <a:graphic>
          <a:graphicData uri="http://schemas.openxmlformats.org/drawingml/2006/table">
            <a:tbl>
              <a:tblPr firstRow="1" bandRow="1">
                <a:tableStyleId>{5C22544A-7EE6-4342-B048-85BDC9FD1C3A}</a:tableStyleId>
              </a:tblPr>
              <a:tblGrid>
                <a:gridCol w="2025401">
                  <a:extLst>
                    <a:ext uri="{9D8B030D-6E8A-4147-A177-3AD203B41FA5}">
                      <a16:colId xmlns:a16="http://schemas.microsoft.com/office/drawing/2014/main" val="1408393705"/>
                    </a:ext>
                  </a:extLst>
                </a:gridCol>
                <a:gridCol w="6794599">
                  <a:extLst>
                    <a:ext uri="{9D8B030D-6E8A-4147-A177-3AD203B41FA5}">
                      <a16:colId xmlns:a16="http://schemas.microsoft.com/office/drawing/2014/main" val="1619153461"/>
                    </a:ext>
                  </a:extLst>
                </a:gridCol>
              </a:tblGrid>
              <a:tr h="311897">
                <a:tc gridSpan="2">
                  <a:txBody>
                    <a:bodyPr/>
                    <a:lstStyle/>
                    <a:p>
                      <a:pPr algn="ctr">
                        <a:spcBef>
                          <a:spcPts val="400"/>
                        </a:spcBef>
                      </a:pPr>
                      <a:r>
                        <a:rPr lang="en-AU" sz="1050" b="1" i="0" dirty="0">
                          <a:solidFill>
                            <a:schemeClr val="bg1"/>
                          </a:solidFill>
                          <a:latin typeface="VIC SemiBold" panose="00000700000000000000" pitchFamily="50" charset="0"/>
                        </a:rPr>
                        <a:t>Cohort</a:t>
                      </a:r>
                    </a:p>
                  </a:txBody>
                  <a:tcPr marL="90000" marR="90000" marT="36000" marB="36000" anchor="ctr">
                    <a:lnL w="12700" cmpd="sng">
                      <a:noFill/>
                    </a:lnL>
                    <a:lnT w="2857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lumMod val="75000"/>
                        <a:lumOff val="25000"/>
                      </a:schemeClr>
                    </a:solidFill>
                  </a:tcPr>
                </a:tc>
                <a:tc hMerge="1">
                  <a:txBody>
                    <a:bodyPr/>
                    <a:lstStyle/>
                    <a:p>
                      <a:endParaRPr/>
                    </a:p>
                  </a:txBody>
                  <a:tcPr marL="90000" marR="90000" marT="36000" marB="36000" anchor="ctr">
                    <a:lnL w="12700" cap="flat" cmpd="sng" algn="ctr">
                      <a:solidFill>
                        <a:schemeClr val="bg1"/>
                      </a:solidFill>
                      <a:prstDash val="solid"/>
                      <a:round/>
                      <a:headEnd type="none" w="med" len="med"/>
                      <a:tailEnd type="none" w="med" len="med"/>
                    </a:lnL>
                    <a:lnR w="12700" cmpd="sng">
                      <a:noFill/>
                    </a:lnR>
                    <a:lnT w="2857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722755280"/>
                  </a:ext>
                </a:extLst>
              </a:tr>
              <a:tr h="711388">
                <a:tc>
                  <a:txBody>
                    <a:bodyPr/>
                    <a:lstStyle/>
                    <a:p>
                      <a:pPr>
                        <a:lnSpc>
                          <a:spcPct val="106000"/>
                        </a:lnSpc>
                        <a:spcBef>
                          <a:spcPts val="0"/>
                        </a:spcBef>
                        <a:spcAft>
                          <a:spcPts val="100"/>
                        </a:spcAft>
                      </a:pPr>
                      <a:r>
                        <a:rPr lang="en-AU" sz="1050" b="1" dirty="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rPr>
                        <a:t>Financial performance concerns</a:t>
                      </a:r>
                    </a:p>
                  </a:txBody>
                  <a:tcPr marL="41025" marR="41025" marT="27511" marB="27511"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Bef>
                          <a:spcPts val="400"/>
                        </a:spcBef>
                      </a:pPr>
                      <a:r>
                        <a:rPr lang="en-AU" sz="1000" b="0" dirty="0">
                          <a:solidFill>
                            <a:schemeClr val="tx2"/>
                          </a:solidFill>
                        </a:rPr>
                        <a:t>Intelligence suggests that an entity is part of a group at risk of </a:t>
                      </a:r>
                      <a:r>
                        <a:rPr lang="en-AU" sz="1000" b="0" dirty="0">
                          <a:solidFill>
                            <a:schemeClr val="tx2"/>
                          </a:solidFill>
                          <a:latin typeface="VIC SemiBold" panose="00000700000000000000" pitchFamily="50" charset="0"/>
                        </a:rPr>
                        <a:t>experiencing financial difficulties,</a:t>
                      </a:r>
                      <a:r>
                        <a:rPr lang="en-AU" sz="1000" b="0" dirty="0">
                          <a:solidFill>
                            <a:schemeClr val="tx2"/>
                          </a:solidFill>
                        </a:rPr>
                        <a:t> thus indicating a need to gather information. Financial stress may lead to compromised quality, increased risk of non-compliance, or failure to adhere to standards.</a:t>
                      </a:r>
                    </a:p>
                  </a:txBody>
                  <a:tcPr marL="90000" marR="90000" marT="36000" marB="3600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4236901078"/>
                  </a:ext>
                </a:extLst>
              </a:tr>
              <a:tr h="779676">
                <a:tc>
                  <a:txBody>
                    <a:bodyPr/>
                    <a:lstStyle/>
                    <a:p>
                      <a:pPr marL="0" marR="0" lvl="0" indent="0" algn="l" defTabSz="1039515" rtl="0" eaLnBrk="1" fontAlgn="auto" latinLnBrk="0" hangingPunct="1">
                        <a:lnSpc>
                          <a:spcPct val="106000"/>
                        </a:lnSpc>
                        <a:spcBef>
                          <a:spcPts val="0"/>
                        </a:spcBef>
                        <a:spcAft>
                          <a:spcPts val="100"/>
                        </a:spcAft>
                        <a:buClrTx/>
                        <a:buSzTx/>
                        <a:buFontTx/>
                        <a:buNone/>
                        <a:tabLst/>
                        <a:defRPr/>
                      </a:pPr>
                      <a:r>
                        <a:rPr kumimoji="0" lang="en-AU" sz="1050" b="1" i="0" u="none" strike="noStrike" kern="1200" cap="none" spc="0" normalizeH="0" baseline="0" noProof="0" dirty="0">
                          <a:ln>
                            <a:noFill/>
                          </a:ln>
                          <a:solidFill>
                            <a:schemeClr val="tx2"/>
                          </a:solidFill>
                          <a:effectLst/>
                          <a:uLnTx/>
                          <a:uFillTx/>
                          <a:latin typeface="VIC SemiBold" panose="00000700000000000000" pitchFamily="50" charset="0"/>
                          <a:ea typeface="Segoe UI" panose="020B0502040204020203" pitchFamily="34" charset="0"/>
                          <a:cs typeface="Times New Roman" panose="02020603050405020304" pitchFamily="18" charset="0"/>
                        </a:rPr>
                        <a:t>Trends in their entity details</a:t>
                      </a:r>
                    </a:p>
                  </a:txBody>
                  <a:tcPr marL="41025" marR="41025" marT="27511" marB="27511"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spcBef>
                          <a:spcPts val="400"/>
                        </a:spcBef>
                        <a:buFont typeface="Arial" panose="020B0604020202020204" pitchFamily="34" charset="0"/>
                        <a:buChar char="•"/>
                      </a:pPr>
                      <a:r>
                        <a:rPr lang="en-AU" sz="1000" b="0" dirty="0">
                          <a:solidFill>
                            <a:schemeClr val="tx2"/>
                          </a:solidFill>
                        </a:rPr>
                        <a:t>Trends within the licence type indicate a higher risk of non-compliance.</a:t>
                      </a:r>
                    </a:p>
                    <a:p>
                      <a:pPr marL="171450" indent="-171450">
                        <a:spcBef>
                          <a:spcPts val="400"/>
                        </a:spcBef>
                        <a:buFont typeface="Arial" panose="020B0604020202020204" pitchFamily="34" charset="0"/>
                        <a:buChar char="•"/>
                      </a:pPr>
                      <a:r>
                        <a:rPr lang="en-AU" sz="1000" b="0" dirty="0">
                          <a:solidFill>
                            <a:schemeClr val="tx2"/>
                          </a:solidFill>
                        </a:rPr>
                        <a:t>Entities operating in geographic areas known for higher risks, such as areas with a history of non-compliance.</a:t>
                      </a:r>
                    </a:p>
                  </a:txBody>
                  <a:tcPr marL="90000" marR="90000" marT="36000" marB="3600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249717640"/>
                  </a:ext>
                </a:extLst>
              </a:tr>
              <a:tr h="1453540">
                <a:tc>
                  <a:txBody>
                    <a:bodyPr/>
                    <a:lstStyle/>
                    <a:p>
                      <a:pPr marL="0" marR="0" lvl="0" indent="0" algn="l" defTabSz="1039515" rtl="0" eaLnBrk="1" fontAlgn="auto" latinLnBrk="0" hangingPunct="1">
                        <a:lnSpc>
                          <a:spcPct val="106000"/>
                        </a:lnSpc>
                        <a:spcBef>
                          <a:spcPts val="0"/>
                        </a:spcBef>
                        <a:spcAft>
                          <a:spcPts val="100"/>
                        </a:spcAft>
                        <a:buClrTx/>
                        <a:buSzTx/>
                        <a:buFontTx/>
                        <a:buNone/>
                        <a:tabLst/>
                        <a:defRPr/>
                      </a:pPr>
                      <a:r>
                        <a:rPr kumimoji="0" lang="en-AU" sz="1050" b="1" i="0" u="none" strike="noStrike" kern="1200" cap="none" spc="0" normalizeH="0" baseline="0" noProof="0" dirty="0">
                          <a:ln>
                            <a:noFill/>
                          </a:ln>
                          <a:solidFill>
                            <a:schemeClr val="tx2"/>
                          </a:solidFill>
                          <a:effectLst/>
                          <a:uLnTx/>
                          <a:uFillTx/>
                          <a:latin typeface="VIC SemiBold" panose="00000700000000000000" pitchFamily="50" charset="0"/>
                          <a:ea typeface="Segoe UI" panose="020B0502040204020203" pitchFamily="34" charset="0"/>
                          <a:cs typeface="Times New Roman" panose="02020603050405020304" pitchFamily="18" charset="0"/>
                        </a:rPr>
                        <a:t>Entity work experience</a:t>
                      </a:r>
                    </a:p>
                  </a:txBody>
                  <a:tcPr marL="41025" marR="41025" marT="27511" marB="27511"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Bef>
                          <a:spcPts val="400"/>
                        </a:spcBef>
                      </a:pPr>
                      <a:r>
                        <a:rPr lang="en-AU" sz="1000" b="0" dirty="0">
                          <a:solidFill>
                            <a:schemeClr val="tx2"/>
                          </a:solidFill>
                        </a:rPr>
                        <a:t>Entity work experience suggests they may be a higher risk of non-compliance. For example:</a:t>
                      </a:r>
                    </a:p>
                    <a:p>
                      <a:pPr marL="171450" indent="-171450">
                        <a:spcBef>
                          <a:spcPts val="400"/>
                        </a:spcBef>
                        <a:buFont typeface="Arial" panose="020B0604020202020204" pitchFamily="34" charset="0"/>
                        <a:buChar char="•"/>
                      </a:pPr>
                      <a:r>
                        <a:rPr lang="en-AU" sz="1000" b="0" dirty="0">
                          <a:solidFill>
                            <a:schemeClr val="tx2"/>
                          </a:solidFill>
                        </a:rPr>
                        <a:t>If the entity has less than two years of experience, it may be at a higher risk for compliance issues.</a:t>
                      </a:r>
                    </a:p>
                    <a:p>
                      <a:pPr marL="171450" indent="-171450">
                        <a:spcBef>
                          <a:spcPts val="400"/>
                        </a:spcBef>
                        <a:buFont typeface="Arial" panose="020B0604020202020204" pitchFamily="34" charset="0"/>
                        <a:buChar char="•"/>
                      </a:pPr>
                      <a:r>
                        <a:rPr lang="en-AU" sz="1000" b="0" dirty="0">
                          <a:solidFill>
                            <a:schemeClr val="tx2"/>
                          </a:solidFill>
                        </a:rPr>
                        <a:t>If the entity has more than 30 years of experience, it might rely on outdated methods or resist adopting new regulatory standards.</a:t>
                      </a:r>
                    </a:p>
                  </a:txBody>
                  <a:tcPr marL="90000" marR="90000" marT="36000" marB="3600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1689923596"/>
                  </a:ext>
                </a:extLst>
              </a:tr>
              <a:tr h="574810">
                <a:tc>
                  <a:txBody>
                    <a:bodyPr/>
                    <a:lstStyle/>
                    <a:p>
                      <a:pPr marL="0" marR="0" lvl="0" indent="0" algn="l" defTabSz="1039515" rtl="0" eaLnBrk="1" fontAlgn="auto" latinLnBrk="0" hangingPunct="1">
                        <a:lnSpc>
                          <a:spcPct val="106000"/>
                        </a:lnSpc>
                        <a:spcBef>
                          <a:spcPts val="0"/>
                        </a:spcBef>
                        <a:spcAft>
                          <a:spcPts val="100"/>
                        </a:spcAft>
                        <a:buClrTx/>
                        <a:buSzTx/>
                        <a:buFontTx/>
                        <a:buNone/>
                        <a:tabLst/>
                        <a:defRPr/>
                      </a:pPr>
                      <a:r>
                        <a:rPr kumimoji="0" lang="en-AU" sz="1050" b="1" i="0" u="none" strike="noStrike" kern="1200" cap="none" spc="0" normalizeH="0" baseline="0" noProof="0" dirty="0">
                          <a:ln>
                            <a:noFill/>
                          </a:ln>
                          <a:solidFill>
                            <a:schemeClr val="tx2"/>
                          </a:solidFill>
                          <a:effectLst/>
                          <a:uLnTx/>
                          <a:uFillTx/>
                          <a:latin typeface="VIC SemiBold" panose="00000700000000000000" pitchFamily="50" charset="0"/>
                          <a:ea typeface="Segoe UI" panose="020B0502040204020203" pitchFamily="34" charset="0"/>
                          <a:cs typeface="Times New Roman" panose="02020603050405020304" pitchFamily="18" charset="0"/>
                        </a:rPr>
                        <a:t>External sources indicate cohort risk</a:t>
                      </a:r>
                    </a:p>
                  </a:txBody>
                  <a:tcPr marL="41025" marR="41025" marT="27511" marB="27511"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spcBef>
                          <a:spcPts val="400"/>
                        </a:spcBef>
                        <a:buFont typeface="Arial" panose="020B0604020202020204" pitchFamily="34" charset="0"/>
                        <a:buChar char="•"/>
                      </a:pPr>
                      <a:r>
                        <a:rPr lang="en-AU" sz="1000" b="0" dirty="0">
                          <a:solidFill>
                            <a:schemeClr val="tx2"/>
                          </a:solidFill>
                        </a:rPr>
                        <a:t>An external entity has referred information on a cohort</a:t>
                      </a:r>
                    </a:p>
                    <a:p>
                      <a:pPr marL="171450" indent="-171450">
                        <a:spcBef>
                          <a:spcPts val="400"/>
                        </a:spcBef>
                        <a:buFont typeface="Arial" panose="020B0604020202020204" pitchFamily="34" charset="0"/>
                        <a:buChar char="•"/>
                      </a:pPr>
                      <a:r>
                        <a:rPr lang="en-AU" sz="1000" b="0" dirty="0">
                          <a:solidFill>
                            <a:schemeClr val="tx2"/>
                          </a:solidFill>
                        </a:rPr>
                        <a:t>Open source information indicates risk for a cohort </a:t>
                      </a:r>
                    </a:p>
                  </a:txBody>
                  <a:tcPr marL="90000" marR="90000" marT="36000" marB="36000"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1926230726"/>
                  </a:ext>
                </a:extLst>
              </a:tr>
            </a:tbl>
          </a:graphicData>
        </a:graphic>
      </p:graphicFrame>
    </p:spTree>
    <p:extLst>
      <p:ext uri="{BB962C8B-B14F-4D97-AF65-F5344CB8AC3E}">
        <p14:creationId xmlns:p14="http://schemas.microsoft.com/office/powerpoint/2010/main" val="33559929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CEFBE91-2D89-61B4-337F-14E326438BB1}"/>
              </a:ext>
            </a:extLst>
          </p:cNvPr>
          <p:cNvGraphicFramePr>
            <a:graphicFrameLocks noChangeAspect="1"/>
          </p:cNvGraphicFramePr>
          <p:nvPr>
            <p:custDataLst>
              <p:tags r:id="rId1"/>
            </p:custDataLst>
            <p:extLst>
              <p:ext uri="{D42A27DB-BD31-4B8C-83A1-F6EECF244321}">
                <p14:modId xmlns:p14="http://schemas.microsoft.com/office/powerpoint/2010/main" val="2519180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4CEFBE91-2D89-61B4-337F-14E326438B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B068FAC4-4E35-4912-1E95-4C38FB047EE7}"/>
              </a:ext>
            </a:extLst>
          </p:cNvPr>
          <p:cNvSpPr>
            <a:spLocks noGrp="1"/>
          </p:cNvSpPr>
          <p:nvPr>
            <p:ph sz="quarter" idx="13"/>
          </p:nvPr>
        </p:nvSpPr>
        <p:spPr>
          <a:xfrm>
            <a:off x="539999" y="1268761"/>
            <a:ext cx="8820000" cy="390706"/>
          </a:xfrm>
        </p:spPr>
        <p:txBody>
          <a:bodyPr/>
          <a:lstStyle/>
          <a:p>
            <a:pPr marL="0" indent="0">
              <a:buNone/>
            </a:pPr>
            <a:r>
              <a:rPr lang="en-AU" dirty="0"/>
              <a:t>The table below provides potential </a:t>
            </a:r>
            <a:r>
              <a:rPr lang="en-AU" dirty="0">
                <a:latin typeface="VIC SemiBold" panose="00000700000000000000" pitchFamily="50" charset="0"/>
              </a:rPr>
              <a:t>operational considerations</a:t>
            </a:r>
            <a:r>
              <a:rPr lang="en-AU" dirty="0"/>
              <a:t> that may indicate when an inspection is required. These may be related to your complimentary processes, programs and activities.  </a:t>
            </a:r>
          </a:p>
        </p:txBody>
      </p:sp>
      <p:sp>
        <p:nvSpPr>
          <p:cNvPr id="3" name="Title 2">
            <a:extLst>
              <a:ext uri="{FF2B5EF4-FFF2-40B4-BE49-F238E27FC236}">
                <a16:creationId xmlns:a16="http://schemas.microsoft.com/office/drawing/2014/main" id="{0B0E0EEE-AAF7-27D9-5453-D9B85663617E}"/>
              </a:ext>
            </a:extLst>
          </p:cNvPr>
          <p:cNvSpPr>
            <a:spLocks noGrp="1"/>
          </p:cNvSpPr>
          <p:nvPr>
            <p:ph type="title"/>
          </p:nvPr>
        </p:nvSpPr>
        <p:spPr>
          <a:xfrm>
            <a:off x="539999" y="548681"/>
            <a:ext cx="8820000" cy="341618"/>
          </a:xfrm>
        </p:spPr>
        <p:txBody>
          <a:bodyPr vert="horz"/>
          <a:lstStyle/>
          <a:p>
            <a:r>
              <a:rPr lang="en-AU" dirty="0">
                <a:latin typeface="VIC SemiBold" panose="00000700000000000000" pitchFamily="2" charset="0"/>
              </a:rPr>
              <a:t>Rationale for inspections</a:t>
            </a:r>
            <a:r>
              <a:rPr lang="en-AU" dirty="0"/>
              <a:t> | Assess operational considerations to justify an inspection</a:t>
            </a:r>
          </a:p>
        </p:txBody>
      </p:sp>
      <p:graphicFrame>
        <p:nvGraphicFramePr>
          <p:cNvPr id="4" name="Table 3">
            <a:extLst>
              <a:ext uri="{FF2B5EF4-FFF2-40B4-BE49-F238E27FC236}">
                <a16:creationId xmlns:a16="http://schemas.microsoft.com/office/drawing/2014/main" id="{BD48924B-0496-CA2C-8D73-A47E59DB3E4C}"/>
              </a:ext>
            </a:extLst>
          </p:cNvPr>
          <p:cNvGraphicFramePr>
            <a:graphicFrameLocks noGrp="1"/>
          </p:cNvGraphicFramePr>
          <p:nvPr>
            <p:extLst>
              <p:ext uri="{D42A27DB-BD31-4B8C-83A1-F6EECF244321}">
                <p14:modId xmlns:p14="http://schemas.microsoft.com/office/powerpoint/2010/main" val="3646033729"/>
              </p:ext>
            </p:extLst>
          </p:nvPr>
        </p:nvGraphicFramePr>
        <p:xfrm>
          <a:off x="539999" y="1920226"/>
          <a:ext cx="8820000" cy="3017547"/>
        </p:xfrm>
        <a:graphic>
          <a:graphicData uri="http://schemas.openxmlformats.org/drawingml/2006/table">
            <a:tbl>
              <a:tblPr firstRow="1" bandRow="1">
                <a:tableStyleId>{5C22544A-7EE6-4342-B048-85BDC9FD1C3A}</a:tableStyleId>
              </a:tblPr>
              <a:tblGrid>
                <a:gridCol w="2025401">
                  <a:extLst>
                    <a:ext uri="{9D8B030D-6E8A-4147-A177-3AD203B41FA5}">
                      <a16:colId xmlns:a16="http://schemas.microsoft.com/office/drawing/2014/main" val="1408393705"/>
                    </a:ext>
                  </a:extLst>
                </a:gridCol>
                <a:gridCol w="6794599">
                  <a:extLst>
                    <a:ext uri="{9D8B030D-6E8A-4147-A177-3AD203B41FA5}">
                      <a16:colId xmlns:a16="http://schemas.microsoft.com/office/drawing/2014/main" val="1619153461"/>
                    </a:ext>
                  </a:extLst>
                </a:gridCol>
              </a:tblGrid>
              <a:tr h="365068">
                <a:tc gridSpan="2">
                  <a:txBody>
                    <a:bodyPr/>
                    <a:lstStyle/>
                    <a:p>
                      <a:pPr algn="ctr">
                        <a:spcBef>
                          <a:spcPts val="400"/>
                        </a:spcBef>
                      </a:pPr>
                      <a:r>
                        <a:rPr lang="en-AU" sz="1050" b="1" i="0" dirty="0">
                          <a:solidFill>
                            <a:schemeClr val="bg1"/>
                          </a:solidFill>
                          <a:latin typeface="VIC SemiBold" panose="00000700000000000000" pitchFamily="50" charset="0"/>
                        </a:rPr>
                        <a:t>Operational considerations</a:t>
                      </a:r>
                    </a:p>
                  </a:txBody>
                  <a:tcPr marL="90000" marR="90000" marT="36000" marB="36000" anchor="ctr">
                    <a:lnL w="12700" cmpd="sng">
                      <a:noFill/>
                    </a:lnL>
                    <a:lnT w="2857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lumMod val="75000"/>
                        <a:lumOff val="25000"/>
                      </a:schemeClr>
                    </a:solidFill>
                  </a:tcPr>
                </a:tc>
                <a:tc hMerge="1">
                  <a:txBody>
                    <a:bodyPr/>
                    <a:lstStyle/>
                    <a:p>
                      <a:endParaRPr/>
                    </a:p>
                  </a:txBody>
                  <a:tcPr marL="90000" marR="90000" marT="36000" marB="36000" anchor="ctr">
                    <a:lnL w="12700" cap="flat" cmpd="sng" algn="ctr">
                      <a:solidFill>
                        <a:schemeClr val="bg1"/>
                      </a:solidFill>
                      <a:prstDash val="solid"/>
                      <a:round/>
                      <a:headEnd type="none" w="med" len="med"/>
                      <a:tailEnd type="none" w="med" len="med"/>
                    </a:lnL>
                    <a:lnR w="12700" cmpd="sng">
                      <a:noFill/>
                    </a:lnR>
                    <a:lnT w="2857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722755280"/>
                  </a:ext>
                </a:extLst>
              </a:tr>
              <a:tr h="1152384">
                <a:tc>
                  <a:txBody>
                    <a:bodyPr/>
                    <a:lstStyle/>
                    <a:p>
                      <a:pPr>
                        <a:lnSpc>
                          <a:spcPct val="106000"/>
                        </a:lnSpc>
                        <a:spcBef>
                          <a:spcPts val="0"/>
                        </a:spcBef>
                        <a:spcAft>
                          <a:spcPts val="100"/>
                        </a:spcAft>
                      </a:pPr>
                      <a:r>
                        <a:rPr lang="en-AU" sz="1050" b="1" dirty="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rPr>
                        <a:t>Inspection will support maintenance or strategic programs</a:t>
                      </a:r>
                    </a:p>
                  </a:txBody>
                  <a:tcPr marL="41025" marR="41025" marT="27511" marB="27511"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spcBef>
                          <a:spcPts val="400"/>
                        </a:spcBef>
                        <a:buFont typeface="Arial" panose="020B0604020202020204" pitchFamily="34" charset="0"/>
                        <a:buChar char="•"/>
                      </a:pPr>
                      <a:r>
                        <a:rPr lang="en-AU" sz="1000" b="0" dirty="0">
                          <a:solidFill>
                            <a:schemeClr val="tx2"/>
                          </a:solidFill>
                        </a:rPr>
                        <a:t>It is more efficient to conduct an inspection now in response to the complaint/referral than a regular proactive inspection.</a:t>
                      </a:r>
                    </a:p>
                    <a:p>
                      <a:pPr marL="171450" indent="-171450">
                        <a:spcBef>
                          <a:spcPts val="400"/>
                        </a:spcBef>
                        <a:buFont typeface="Arial" panose="020B0604020202020204" pitchFamily="34" charset="0"/>
                        <a:buChar char="•"/>
                      </a:pPr>
                      <a:r>
                        <a:rPr lang="en-AU" sz="1000" b="0" dirty="0">
                          <a:solidFill>
                            <a:schemeClr val="tx2"/>
                          </a:solidFill>
                        </a:rPr>
                        <a:t>The complaint/referral is in line with an ongoing campaign or focus and should be conducted in place of a strategic inspection. </a:t>
                      </a:r>
                    </a:p>
                  </a:txBody>
                  <a:tcPr marL="90000" marR="90000" marT="36000" marB="3600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4236901078"/>
                  </a:ext>
                </a:extLst>
              </a:tr>
              <a:tr h="883481">
                <a:tc>
                  <a:txBody>
                    <a:bodyPr/>
                    <a:lstStyle/>
                    <a:p>
                      <a:pPr marL="0" marR="0" lvl="0" indent="0" algn="l" defTabSz="1039515" rtl="0" eaLnBrk="1" fontAlgn="auto" latinLnBrk="0" hangingPunct="1">
                        <a:lnSpc>
                          <a:spcPct val="106000"/>
                        </a:lnSpc>
                        <a:spcBef>
                          <a:spcPts val="0"/>
                        </a:spcBef>
                        <a:spcAft>
                          <a:spcPts val="100"/>
                        </a:spcAft>
                        <a:buClrTx/>
                        <a:buSzTx/>
                        <a:buFontTx/>
                        <a:buNone/>
                        <a:tabLst/>
                        <a:defRPr/>
                      </a:pPr>
                      <a:r>
                        <a:rPr kumimoji="0" lang="en-AU" sz="1050" b="1" i="0" u="none" strike="noStrike" kern="1200" cap="none" spc="0" normalizeH="0" baseline="0" noProof="0" dirty="0">
                          <a:ln>
                            <a:noFill/>
                          </a:ln>
                          <a:solidFill>
                            <a:schemeClr val="tx2"/>
                          </a:solidFill>
                          <a:effectLst/>
                          <a:uLnTx/>
                          <a:uFillTx/>
                          <a:latin typeface="VIC SemiBold" panose="00000700000000000000" pitchFamily="50" charset="0"/>
                          <a:ea typeface="Segoe UI" panose="020B0502040204020203" pitchFamily="34" charset="0"/>
                          <a:cs typeface="Times New Roman" panose="02020603050405020304" pitchFamily="18" charset="0"/>
                        </a:rPr>
                        <a:t>Inspection will assist an ongoing investigation or disciplinary action</a:t>
                      </a:r>
                    </a:p>
                  </a:txBody>
                  <a:tcPr marL="41025" marR="41025" marT="27511" marB="27511"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Bef>
                          <a:spcPts val="400"/>
                        </a:spcBef>
                      </a:pPr>
                      <a:r>
                        <a:rPr lang="en-AU" sz="1000" b="0" dirty="0">
                          <a:solidFill>
                            <a:schemeClr val="tx2"/>
                          </a:solidFill>
                        </a:rPr>
                        <a:t>An inspection will be conducted in parallel to an investigation to produce a better outcome.</a:t>
                      </a:r>
                    </a:p>
                  </a:txBody>
                  <a:tcPr marL="90000" marR="90000" marT="36000" marB="3600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249717640"/>
                  </a:ext>
                </a:extLst>
              </a:tr>
              <a:tr h="616614">
                <a:tc>
                  <a:txBody>
                    <a:bodyPr/>
                    <a:lstStyle/>
                    <a:p>
                      <a:pPr marL="0" marR="0" lvl="0" indent="0" algn="l" defTabSz="1039515" rtl="0" eaLnBrk="1" fontAlgn="auto" latinLnBrk="0" hangingPunct="1">
                        <a:lnSpc>
                          <a:spcPct val="106000"/>
                        </a:lnSpc>
                        <a:spcBef>
                          <a:spcPts val="0"/>
                        </a:spcBef>
                        <a:spcAft>
                          <a:spcPts val="100"/>
                        </a:spcAft>
                        <a:buClrTx/>
                        <a:buSzTx/>
                        <a:buFontTx/>
                        <a:buNone/>
                        <a:tabLst/>
                        <a:defRPr/>
                      </a:pPr>
                      <a:r>
                        <a:rPr kumimoji="0" lang="en-AU" sz="1050" b="1" i="0" u="none" strike="noStrike" kern="1200" cap="none" spc="0" normalizeH="0" baseline="0" noProof="0" dirty="0">
                          <a:ln>
                            <a:noFill/>
                          </a:ln>
                          <a:solidFill>
                            <a:schemeClr val="tx2"/>
                          </a:solidFill>
                          <a:effectLst/>
                          <a:uLnTx/>
                          <a:uFillTx/>
                          <a:latin typeface="VIC SemiBold" panose="00000700000000000000" pitchFamily="50" charset="0"/>
                          <a:ea typeface="Segoe UI" panose="020B0502040204020203" pitchFamily="34" charset="0"/>
                          <a:cs typeface="Times New Roman" panose="02020603050405020304" pitchFamily="18" charset="0"/>
                        </a:rPr>
                        <a:t>Inspection to follow-up on past action</a:t>
                      </a:r>
                    </a:p>
                  </a:txBody>
                  <a:tcPr marL="41025" marR="41025" marT="27511" marB="27511"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Bef>
                          <a:spcPts val="400"/>
                        </a:spcBef>
                      </a:pPr>
                      <a:r>
                        <a:rPr lang="en-AU" sz="1000" b="0" dirty="0">
                          <a:solidFill>
                            <a:schemeClr val="tx2"/>
                          </a:solidFill>
                        </a:rPr>
                        <a:t>An inspection is required to follow-up on a previous inspection or remedial/disciplinary action to confirm non-compliance has been resolved.</a:t>
                      </a:r>
                    </a:p>
                  </a:txBody>
                  <a:tcPr marL="90000" marR="90000" marT="36000" marB="3600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1689923596"/>
                  </a:ext>
                </a:extLst>
              </a:tr>
            </a:tbl>
          </a:graphicData>
        </a:graphic>
      </p:graphicFrame>
    </p:spTree>
    <p:extLst>
      <p:ext uri="{BB962C8B-B14F-4D97-AF65-F5344CB8AC3E}">
        <p14:creationId xmlns:p14="http://schemas.microsoft.com/office/powerpoint/2010/main" val="20749491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70812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port - Cor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48C7"/>
      </a:hlink>
      <a:folHlink>
        <a:srgbClr val="0048C7"/>
      </a:folHlink>
    </a:clrScheme>
    <a:fontScheme name="Custom 1">
      <a:majorFont>
        <a:latin typeface="VIC"/>
        <a:ea typeface=""/>
        <a:cs typeface=""/>
      </a:majorFont>
      <a:minorFont>
        <a:latin typeface="V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sz="1100" dirty="0" err="1">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Autofit/>
      </a:bodyPr>
      <a:lstStyle>
        <a:defPPr algn="l">
          <a:defRPr b="1" dirty="0" smtClean="0">
            <a:solidFill>
              <a:schemeClr val="tx2"/>
            </a:solidFill>
          </a:defRPr>
        </a:defPPr>
      </a:lstStyle>
    </a:txDef>
  </a:objectDefaults>
  <a:extraClrSchemeLst/>
  <a:extLst>
    <a:ext uri="{05A4C25C-085E-4340-85A3-A5531E510DB2}">
      <thm15:themeFamily xmlns:thm15="http://schemas.microsoft.com/office/thememl/2012/main" name="1 Report - Formal" id="{3D01A89B-675F-4EB8-AB6F-2F8A15D6011D}" vid="{E1B2056E-2324-4CAB-A746-A79D76BAA4F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2AF1AD5AF15524C920CB3BE3D72725D" ma:contentTypeVersion="29" ma:contentTypeDescription="Create a new document." ma:contentTypeScope="" ma:versionID="181bc69c8014eae7075099ceadbe6696">
  <xsd:schema xmlns:xsd="http://www.w3.org/2001/XMLSchema" xmlns:xs="http://www.w3.org/2001/XMLSchema" xmlns:p="http://schemas.microsoft.com/office/2006/metadata/properties" xmlns:ns2="c5048082-e052-44c2-9313-1529a8e2ac53" xmlns:ns3="97580cac-1a46-464e-a749-263d0beaf9ec" targetNamespace="http://schemas.microsoft.com/office/2006/metadata/properties" ma:root="true" ma:fieldsID="8d3247d697180b59e86eabbbbb781d18" ns2:_="" ns3:_="">
    <xsd:import namespace="c5048082-e052-44c2-9313-1529a8e2ac53"/>
    <xsd:import namespace="97580cac-1a46-464e-a749-263d0beaf9e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WorkCategory" minOccurs="0"/>
                <xsd:element ref="ns2:DocumentType" minOccurs="0"/>
                <xsd:element ref="ns2:Status" minOccurs="0"/>
                <xsd:element ref="ns2:Assignedto" minOccurs="0"/>
                <xsd:element ref="ns2:Requiredbydate" minOccurs="0"/>
                <xsd:element ref="ns2:MediaServiceObjectDetectorVersions" minOccurs="0"/>
                <xsd:element ref="ns2:Department" minOccurs="0"/>
                <xsd:element ref="ns2:Requester" minOccurs="0"/>
                <xsd:element ref="ns2:HasaRIS_x002f_LIAdrafted_x003f_" minOccurs="0"/>
                <xsd:element ref="ns2:Exemptionground" minOccurs="0"/>
                <xsd:element ref="ns2:MediaServiceSearchProperties" minOccurs="0"/>
                <xsd:element ref="ns2:Note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048082-e052-44c2-9313-1529a8e2ac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292314e-c97d-49c1-8ae7-4cb6e1c4f97c" ma:termSetId="09814cd3-568e-fe90-9814-8d621ff8fb84" ma:anchorId="fba54fb3-c3e1-fe81-a776-ca4b69148c4d" ma:open="true" ma:isKeyword="false">
      <xsd:complexType>
        <xsd:sequence>
          <xsd:element ref="pc:Terms" minOccurs="0" maxOccurs="1"/>
        </xsd:sequence>
      </xsd:complexType>
    </xsd:element>
    <xsd:element name="WorkCategory" ma:index="23" nillable="true" ma:displayName="Work Category" ma:format="Dropdown" ma:indexed="true" ma:internalName="WorkCategory">
      <xsd:simpleType>
        <xsd:restriction base="dms:Choice">
          <xsd:enumeration value="Building System Review"/>
          <xsd:enumeration value="Competitive Neutrality"/>
          <xsd:enumeration value="General"/>
          <xsd:enumeration value="Guidance Project"/>
          <xsd:enumeration value="Marked for Deletion"/>
          <xsd:enumeration value="Presentations and Conferences"/>
          <xsd:enumeration value="Regulators as a Profession"/>
          <xsd:enumeration value="Regulator Reform Project and Health Checks"/>
          <xsd:enumeration value="RegTech Project"/>
          <xsd:enumeration value="Reviews"/>
          <xsd:enumeration value="Scrutiny Project"/>
        </xsd:restriction>
      </xsd:simpleType>
    </xsd:element>
    <xsd:element name="DocumentType" ma:index="24" nillable="true" ma:displayName="Document Type" ma:format="Dropdown" ma:internalName="DocumentType">
      <xsd:simpleType>
        <xsd:restriction base="dms:Choice">
          <xsd:enumeration value="Agenda"/>
          <xsd:enumeration value="Brief"/>
          <xsd:enumeration value="Guidance"/>
          <xsd:enumeration value="Presentation"/>
          <xsd:enumeration value="Memo"/>
          <xsd:enumeration value="Minutes"/>
          <xsd:enumeration value="Report"/>
        </xsd:restriction>
      </xsd:simpleType>
    </xsd:element>
    <xsd:element name="Status" ma:index="25" nillable="true" ma:displayName="Status" ma:format="Dropdown" ma:internalName="Status">
      <xsd:simpleType>
        <xsd:restriction base="dms:Choice">
          <xsd:enumeration value="Draft"/>
          <xsd:enumeration value="For review"/>
          <xsd:enumeration value="For approval"/>
          <xsd:enumeration value="Approved"/>
          <xsd:enumeration value="On-hold"/>
        </xsd:restriction>
      </xsd:simpleType>
    </xsd:element>
    <xsd:element name="Assignedto" ma:index="26" nillable="true" ma:displayName="Assigned to" ma:format="Dropdown" ma:list="UserInfo" ma:SharePointGroup="0" ma:internalName="Assignedto">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quiredbydate" ma:index="27" nillable="true" ma:displayName="Required by date" ma:format="DateOnly" ma:internalName="Requiredbydate">
      <xsd:simpleType>
        <xsd:restriction base="dms:DateTime"/>
      </xsd:simpleType>
    </xsd:element>
    <xsd:element name="MediaServiceObjectDetectorVersions" ma:index="29" nillable="true" ma:displayName="MediaServiceObjectDetectorVersions" ma:hidden="true" ma:indexed="true" ma:internalName="MediaServiceObjectDetectorVersions" ma:readOnly="true">
      <xsd:simpleType>
        <xsd:restriction base="dms:Text"/>
      </xsd:simpleType>
    </xsd:element>
    <xsd:element name="Department" ma:index="30" nillable="true" ma:displayName="Department" ma:format="Dropdown" ma:internalName="Department">
      <xsd:simpleType>
        <xsd:union memberTypes="dms:Text">
          <xsd:simpleType>
            <xsd:restriction base="dms:Choice">
              <xsd:enumeration value="DTF"/>
              <xsd:enumeration value="DPC"/>
              <xsd:enumeration value="DGS"/>
              <xsd:enumeration value="DJSIR"/>
              <xsd:enumeration value="DH"/>
              <xsd:enumeration value="DTP"/>
              <xsd:enumeration value="DEECA"/>
              <xsd:enumeration value="ESC"/>
              <xsd:enumeration value="VPA"/>
              <xsd:enumeration value="DJCS"/>
              <xsd:enumeration value="WorkSafe"/>
              <xsd:enumeration value="DFFH"/>
              <xsd:enumeration value="DELWP"/>
              <xsd:enumeration value="DE"/>
              <xsd:enumeration value="DET"/>
            </xsd:restriction>
          </xsd:simpleType>
        </xsd:union>
      </xsd:simpleType>
    </xsd:element>
    <xsd:element name="Requester" ma:index="31" nillable="true" ma:displayName="Requester" ma:format="Dropdown" ma:list="UserInfo" ma:SharePointGroup="0" ma:internalName="Request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HasaRIS_x002f_LIAdrafted_x003f_" ma:index="32" nillable="true" ma:displayName="Has a RIS/LIA been drafted?" ma:default="0" ma:format="Dropdown" ma:internalName="HasaRIS_x002f_LIAdrafted_x003f_">
      <xsd:simpleType>
        <xsd:restriction base="dms:Boolean"/>
      </xsd:simpleType>
    </xsd:element>
    <xsd:element name="Exemptionground" ma:index="33" nillable="true" ma:displayName="Exemption ground" ma:description="Exemption ground in the Subordinate Legislation Act. Key grounds:&#10;8(1)(a) - SR no significant burden&#10;8(1)(c) - SR declaratory or machinery&#10;8(1)(d) - SR fees increasing below Treasurer's rate&#10;8(1)(f) - SR national uniform legislation&#10;12F(1)(a) - LI no significant burden&#10;12F(1)(b) - LI declaratory or machinery&#10;12F(1)(c) - LI fees increasing below Treasurer's rate&#10;12F(1)(d) - LI burden only on public sector&#10;12F(1)(f) - LI national uniform legislation&#10;12F(1)(g) - LI equivalent RIS process &#10;12F(1)(h) - LI less than 12 months duration&#10;&#10;&#10;&#10;" ma:format="Dropdown" ma:internalName="Exemptionground">
      <xsd:simpleType>
        <xsd:restriction base="dms:Text">
          <xsd:maxLength value="255"/>
        </xsd:restriction>
      </xsd:simpleType>
    </xsd:element>
    <xsd:element name="MediaServiceSearchProperties" ma:index="34" nillable="true" ma:displayName="MediaServiceSearchProperties" ma:hidden="true" ma:internalName="MediaServiceSearchProperties" ma:readOnly="true">
      <xsd:simpleType>
        <xsd:restriction base="dms:Note"/>
      </xsd:simpleType>
    </xsd:element>
    <xsd:element name="Notes" ma:index="35" nillable="true" ma:displayName="Notes" ma:format="Dropdown" ma:internalName="Notes">
      <xsd:simpleType>
        <xsd:restriction base="dms:Note">
          <xsd:maxLength value="255"/>
        </xsd:restriction>
      </xsd:simpleType>
    </xsd:element>
    <xsd:element name="_Flow_SignoffStatus" ma:index="36" nillable="true" ma:displayName="Sign-off status" ma:internalName="_x0024_Resources_x003a_core_x002c_Signoff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580cac-1a46-464e-a749-263d0beaf9e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47364121-4511-4e9b-9ea9-dbc06523d608}" ma:internalName="TaxCatchAll" ma:showField="CatchAllData" ma:web="97580cac-1a46-464e-a749-263d0beaf9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97580cac-1a46-464e-a749-263d0beaf9ec" xsi:nil="true"/>
    <lcf76f155ced4ddcb4097134ff3c332f xmlns="c5048082-e052-44c2-9313-1529a8e2ac53">
      <Terms xmlns="http://schemas.microsoft.com/office/infopath/2007/PartnerControls"/>
    </lcf76f155ced4ddcb4097134ff3c332f>
    <Department xmlns="c5048082-e052-44c2-9313-1529a8e2ac53" xsi:nil="true"/>
    <Status xmlns="c5048082-e052-44c2-9313-1529a8e2ac53" xsi:nil="true"/>
    <Requiredbydate xmlns="c5048082-e052-44c2-9313-1529a8e2ac53" xsi:nil="true"/>
    <WorkCategory xmlns="c5048082-e052-44c2-9313-1529a8e2ac53" xsi:nil="true"/>
    <DocumentType xmlns="c5048082-e052-44c2-9313-1529a8e2ac53" xsi:nil="true"/>
    <HasaRIS_x002f_LIAdrafted_x003f_ xmlns="c5048082-e052-44c2-9313-1529a8e2ac53">false</HasaRIS_x002f_LIAdrafted_x003f_>
    <Assignedto xmlns="c5048082-e052-44c2-9313-1529a8e2ac53">
      <UserInfo>
        <DisplayName/>
        <AccountId xsi:nil="true"/>
        <AccountType/>
      </UserInfo>
    </Assignedto>
    <Requester xmlns="c5048082-e052-44c2-9313-1529a8e2ac53">
      <UserInfo>
        <DisplayName/>
        <AccountId xsi:nil="true"/>
        <AccountType/>
      </UserInfo>
    </Requester>
    <Exemptionground xmlns="c5048082-e052-44c2-9313-1529a8e2ac53" xsi:nil="true"/>
    <Notes xmlns="c5048082-e052-44c2-9313-1529a8e2ac53" xsi:nil="true"/>
    <_Flow_SignoffStatus xmlns="c5048082-e052-44c2-9313-1529a8e2ac53" xsi:nil="true"/>
  </documentManagement>
</p:properties>
</file>

<file path=customXml/itemProps1.xml><?xml version="1.0" encoding="utf-8"?>
<ds:datastoreItem xmlns:ds="http://schemas.openxmlformats.org/officeDocument/2006/customXml" ds:itemID="{0009745E-45ED-433D-BE66-471DFB5D4B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048082-e052-44c2-9313-1529a8e2ac53"/>
    <ds:schemaRef ds:uri="97580cac-1a46-464e-a749-263d0beaf9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5D67901-E5A7-4095-9B84-D59F73F2D25B}">
  <ds:schemaRefs>
    <ds:schemaRef ds:uri="http://schemas.microsoft.com/sharepoint/v3/contenttype/forms"/>
  </ds:schemaRefs>
</ds:datastoreItem>
</file>

<file path=customXml/itemProps3.xml><?xml version="1.0" encoding="utf-8"?>
<ds:datastoreItem xmlns:ds="http://schemas.openxmlformats.org/officeDocument/2006/customXml" ds:itemID="{5D297E5D-4929-4641-B886-44A98166C815}">
  <ds:schemaRefs>
    <ds:schemaRef ds:uri="97580cac-1a46-464e-a749-263d0beaf9ec"/>
    <ds:schemaRef ds:uri="http://schemas.openxmlformats.org/package/2006/metadata/core-properties"/>
    <ds:schemaRef ds:uri="http://schemas.microsoft.com/office/2006/documentManagement/types"/>
    <ds:schemaRef ds:uri="http://schemas.microsoft.com/office/infopath/2007/PartnerControls"/>
    <ds:schemaRef ds:uri="c5048082-e052-44c2-9313-1529a8e2ac53"/>
    <ds:schemaRef ds:uri="http://purl.org/dc/elements/1.1/"/>
    <ds:schemaRef ds:uri="http://schemas.microsoft.com/office/2006/metadata/properties"/>
    <ds:schemaRef ds:uri="http://purl.org/dc/term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87</TotalTime>
  <Words>1551</Words>
  <Application>Microsoft Office PowerPoint</Application>
  <PresentationFormat>A4 Paper (210x297 mm)</PresentationFormat>
  <Paragraphs>104</Paragraphs>
  <Slides>9</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8" baseType="lpstr">
      <vt:lpstr>Arial</vt:lpstr>
      <vt:lpstr>Calibri</vt:lpstr>
      <vt:lpstr>Segoe UI</vt:lpstr>
      <vt:lpstr>Segoe UI Semibold</vt:lpstr>
      <vt:lpstr>VIC</vt:lpstr>
      <vt:lpstr>VIC SemiBold</vt:lpstr>
      <vt:lpstr>Wingdings</vt:lpstr>
      <vt:lpstr>Report - Core</vt:lpstr>
      <vt:lpstr>think-cell Slide</vt:lpstr>
      <vt:lpstr>PowerPoint Presentation</vt:lpstr>
      <vt:lpstr>PowerPoint Presentation</vt:lpstr>
      <vt:lpstr>Inspection types | Consider how a responsive inspection may be triggered</vt:lpstr>
      <vt:lpstr>Rationale | Examine available information to determine whether an inspection is required</vt:lpstr>
      <vt:lpstr>Rationale for inspections | Consider conduct information to inform when an inspection is required</vt:lpstr>
      <vt:lpstr>Rationale for inspections | Consider entity history to assess a valid referral for an inspection</vt:lpstr>
      <vt:lpstr>Rationale for inspections | Consider cohort intelligence to justify an inspection</vt:lpstr>
      <vt:lpstr>Rationale for inspections | Assess operational considerations to justify an inspection</vt:lpstr>
      <vt:lpstr>PowerPoint Presentation</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sica Gill</dc:creator>
  <cp:lastModifiedBy>Richard Adams (DTF)</cp:lastModifiedBy>
  <cp:revision>8</cp:revision>
  <cp:lastPrinted>2024-06-11T21:46:15Z</cp:lastPrinted>
  <dcterms:created xsi:type="dcterms:W3CDTF">2023-04-25T01:08:19Z</dcterms:created>
  <dcterms:modified xsi:type="dcterms:W3CDTF">2025-04-16T06:1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AF1AD5AF15524C920CB3BE3D72725D</vt:lpwstr>
  </property>
  <property fmtid="{D5CDD505-2E9C-101B-9397-08002B2CF9AE}" pid="3" name="MediaServiceImageTags">
    <vt:lpwstr/>
  </property>
  <property fmtid="{D5CDD505-2E9C-101B-9397-08002B2CF9AE}" pid="4" name="MSIP_Label_7158ebbd-6c5e-441f-bfc9-4eb8c11e3978_Enabled">
    <vt:lpwstr>true</vt:lpwstr>
  </property>
  <property fmtid="{D5CDD505-2E9C-101B-9397-08002B2CF9AE}" pid="5" name="MSIP_Label_7158ebbd-6c5e-441f-bfc9-4eb8c11e3978_SetDate">
    <vt:lpwstr>2024-10-11T04:25:43Z</vt:lpwstr>
  </property>
  <property fmtid="{D5CDD505-2E9C-101B-9397-08002B2CF9AE}" pid="6" name="MSIP_Label_7158ebbd-6c5e-441f-bfc9-4eb8c11e3978_Method">
    <vt:lpwstr>Privileged</vt:lpwstr>
  </property>
  <property fmtid="{D5CDD505-2E9C-101B-9397-08002B2CF9AE}" pid="7" name="MSIP_Label_7158ebbd-6c5e-441f-bfc9-4eb8c11e3978_Name">
    <vt:lpwstr>7158ebbd-6c5e-441f-bfc9-4eb8c11e3978</vt:lpwstr>
  </property>
  <property fmtid="{D5CDD505-2E9C-101B-9397-08002B2CF9AE}" pid="8" name="MSIP_Label_7158ebbd-6c5e-441f-bfc9-4eb8c11e3978_SiteId">
    <vt:lpwstr>722ea0be-3e1c-4b11-ad6f-9401d6856e24</vt:lpwstr>
  </property>
  <property fmtid="{D5CDD505-2E9C-101B-9397-08002B2CF9AE}" pid="9" name="MSIP_Label_7158ebbd-6c5e-441f-bfc9-4eb8c11e3978_ActionId">
    <vt:lpwstr>b33ce813-11b9-4cc2-bc7b-8835f81c01f4</vt:lpwstr>
  </property>
  <property fmtid="{D5CDD505-2E9C-101B-9397-08002B2CF9AE}" pid="10" name="MSIP_Label_7158ebbd-6c5e-441f-bfc9-4eb8c11e3978_ContentBits">
    <vt:lpwstr>2</vt:lpwstr>
  </property>
  <property fmtid="{D5CDD505-2E9C-101B-9397-08002B2CF9AE}" pid="11" name="ClassificationContentMarkingFooterLocations">
    <vt:lpwstr>Report - Core:7</vt:lpwstr>
  </property>
  <property fmtid="{D5CDD505-2E9C-101B-9397-08002B2CF9AE}" pid="12" name="ClassificationContentMarkingFooterText">
    <vt:lpwstr>OFFICIAL</vt:lpwstr>
  </property>
</Properties>
</file>